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14"/>
  </p:notesMasterIdLst>
  <p:sldIdLst>
    <p:sldId id="269" r:id="rId2"/>
    <p:sldId id="448" r:id="rId3"/>
    <p:sldId id="530" r:id="rId4"/>
    <p:sldId id="528" r:id="rId5"/>
    <p:sldId id="525" r:id="rId6"/>
    <p:sldId id="499" r:id="rId7"/>
    <p:sldId id="536" r:id="rId8"/>
    <p:sldId id="556" r:id="rId9"/>
    <p:sldId id="557" r:id="rId10"/>
    <p:sldId id="550" r:id="rId11"/>
    <p:sldId id="551" r:id="rId12"/>
    <p:sldId id="466" r:id="rId13"/>
  </p:sldIdLst>
  <p:sldSz cx="9906000" cy="6858000" type="A4"/>
  <p:notesSz cx="6807200" cy="9939338"/>
  <p:custDataLst>
    <p:tags r:id="rId15"/>
  </p:custDataLst>
  <p:defaultTextStyle>
    <a:defPPr>
      <a:defRPr lang="ro-R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0" userDrawn="1">
          <p15:clr>
            <a:srgbClr val="A4A3A4"/>
          </p15:clr>
        </p15:guide>
        <p15:guide id="2" pos="2144" userDrawn="1">
          <p15:clr>
            <a:srgbClr val="A4A3A4"/>
          </p15:clr>
        </p15:guide>
        <p15:guide id="3" orient="horz" pos="313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FFFF66"/>
    <a:srgbClr val="896FA9"/>
    <a:srgbClr val="957DB1"/>
    <a:srgbClr val="4D7FBB"/>
    <a:srgbClr val="C0C0C0"/>
    <a:srgbClr val="E5EEF7"/>
    <a:srgbClr val="FFFFCC"/>
    <a:srgbClr val="82794A"/>
    <a:srgbClr val="9CBC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47" autoAdjust="0"/>
    <p:restoredTop sz="98057" autoAdjust="0"/>
  </p:normalViewPr>
  <p:slideViewPr>
    <p:cSldViewPr>
      <p:cViewPr>
        <p:scale>
          <a:sx n="100" d="100"/>
          <a:sy n="100" d="100"/>
        </p:scale>
        <p:origin x="186" y="90"/>
      </p:cViewPr>
      <p:guideLst>
        <p:guide orient="horz" pos="2160"/>
        <p:guide pos="288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-3942" y="-90"/>
      </p:cViewPr>
      <p:guideLst>
        <p:guide orient="horz" pos="3130"/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\\hb-fs02\Share01\DESF\Rapoarte%202025\Workings%209L%202025\TSR%202021-2025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hb-fs02\Share01\DESF\Rapoarte%202025\Workings%209L%202025\TSR%202021-2025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livia.radulescu\AppData\Roaming\Microsoft\Excel\TSR%202021-2025pt%20istoric%20prey%20(version%202).xlsb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9727417917100005"/>
          <c:y val="0.25779953181527976"/>
          <c:w val="0.2431878621304413"/>
          <c:h val="0.23223345392636743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67F-4BD4-8C55-94B75B19ADFE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67F-4BD4-8C55-94B75B19ADFE}"/>
              </c:ext>
            </c:extLst>
          </c:dPt>
          <c:dLbls>
            <c:dLbl>
              <c:idx val="0"/>
              <c:layout>
                <c:manualLayout>
                  <c:x val="2.0287847273807686E-2"/>
                  <c:y val="-5.6038873519188515E-2"/>
                </c:manualLayout>
              </c:layout>
              <c:tx>
                <c:rich>
                  <a:bodyPr/>
                  <a:lstStyle/>
                  <a:p>
                    <a:r>
                      <a:rPr lang="en-US" sz="2000" b="1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5</a:t>
                    </a:r>
                    <a:r>
                      <a: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9</a:t>
                    </a:r>
                    <a:r>
                      <a: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</a:t>
                    </a:r>
                    <a:endParaRPr lang="en-US" sz="1000" b="1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67F-4BD4-8C55-94B75B19ADFE}"/>
                </c:ext>
              </c:extLst>
            </c:dLbl>
            <c:dLbl>
              <c:idx val="1"/>
              <c:layout>
                <c:manualLayout>
                  <c:x val="-8.3382855444956233E-4"/>
                  <c:y val="3.5683833439738952E-2"/>
                </c:manualLayout>
              </c:layout>
              <c:tx>
                <c:rich>
                  <a:bodyPr/>
                  <a:lstStyle/>
                  <a:p>
                    <a:pPr>
                      <a:defRPr sz="150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sz="2000" b="1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41</a:t>
                    </a:r>
                    <a:r>
                      <a:rPr lang="en-US" sz="1000" b="1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</a:t>
                    </a:r>
                    <a:endParaRPr lang="en-US" sz="1000" b="1" dirty="0">
                      <a:solidFill>
                        <a:schemeClr val="accent1">
                          <a:lumMod val="50000"/>
                        </a:schemeClr>
                      </a:solidFill>
                    </a:endParaRPr>
                  </a:p>
                </c:rich>
              </c:tx>
              <c:spPr/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67F-4BD4-8C55-94B75B19ADF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500">
                    <a:solidFill>
                      <a:schemeClr val="accent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o-RO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State</c:v>
                </c:pt>
                <c:pt idx="1">
                  <c:v>Other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3020309</c:v>
                </c:pt>
                <c:pt idx="1">
                  <c:v>302828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67F-4BD4-8C55-94B75B19AD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ro-RO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TEL vs </a:t>
            </a:r>
            <a:r>
              <a:rPr lang="en-US" dirty="0" err="1"/>
              <a:t>Indici</a:t>
            </a:r>
            <a:r>
              <a:rPr lang="en-US" dirty="0"/>
              <a:t> BVB (01.01.20</a:t>
            </a:r>
            <a:r>
              <a:rPr lang="ro-RO" dirty="0"/>
              <a:t>2</a:t>
            </a:r>
            <a:r>
              <a:rPr lang="en-US" dirty="0"/>
              <a:t>5</a:t>
            </a:r>
            <a:r>
              <a:rPr lang="en-US" dirty="0">
                <a:solidFill>
                  <a:sysClr val="windowText" lastClr="000000"/>
                </a:solidFill>
              </a:rPr>
              <a:t>-3</a:t>
            </a:r>
            <a:r>
              <a:rPr lang="ro-RO" dirty="0">
                <a:solidFill>
                  <a:sysClr val="windowText" lastClr="000000"/>
                </a:solidFill>
              </a:rPr>
              <a:t>0</a:t>
            </a:r>
            <a:r>
              <a:rPr lang="en-US" dirty="0">
                <a:solidFill>
                  <a:sysClr val="windowText" lastClr="000000"/>
                </a:solidFill>
              </a:rPr>
              <a:t>.09.20</a:t>
            </a:r>
            <a:r>
              <a:rPr lang="ro-RO" dirty="0">
                <a:solidFill>
                  <a:sysClr val="windowText" lastClr="000000"/>
                </a:solidFill>
              </a:rPr>
              <a:t>2</a:t>
            </a:r>
            <a:r>
              <a:rPr lang="en-US" dirty="0">
                <a:solidFill>
                  <a:sysClr val="windowText" lastClr="000000"/>
                </a:solidFill>
              </a:rPr>
              <a:t>5</a:t>
            </a:r>
            <a:r>
              <a:rPr lang="en-US" dirty="0"/>
              <a:t>)</a:t>
            </a:r>
            <a:endParaRPr lang="ro-RO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9.9296770106514193E-2"/>
          <c:y val="0.12338779527559057"/>
          <c:w val="0.82262514482986937"/>
          <c:h val="0.64822939803774915"/>
        </c:manualLayout>
      </c:layout>
      <c:lineChart>
        <c:grouping val="standard"/>
        <c:varyColors val="0"/>
        <c:ser>
          <c:idx val="0"/>
          <c:order val="0"/>
          <c:tx>
            <c:strRef>
              <c:f>'Stock 2025'!$F$1</c:f>
              <c:strCache>
                <c:ptCount val="1"/>
                <c:pt idx="0">
                  <c:v>TEL%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strRef>
              <c:f>'Stock 2025'!$A$2:$A$188</c:f>
              <c:strCache>
                <c:ptCount val="186"/>
                <c:pt idx="0">
                  <c:v>30.12.2024</c:v>
                </c:pt>
                <c:pt idx="1">
                  <c:v>03.01.2025</c:v>
                </c:pt>
                <c:pt idx="2">
                  <c:v>08.01.2025</c:v>
                </c:pt>
                <c:pt idx="3">
                  <c:v>09.01.2025</c:v>
                </c:pt>
                <c:pt idx="4">
                  <c:v>10.01.2025</c:v>
                </c:pt>
                <c:pt idx="5">
                  <c:v>13.01.2025</c:v>
                </c:pt>
                <c:pt idx="6">
                  <c:v>14.01.2025</c:v>
                </c:pt>
                <c:pt idx="7">
                  <c:v>15.01.2025</c:v>
                </c:pt>
                <c:pt idx="8">
                  <c:v>16.01.2025</c:v>
                </c:pt>
                <c:pt idx="9">
                  <c:v>17.01.2025</c:v>
                </c:pt>
                <c:pt idx="10">
                  <c:v>20.01.2025</c:v>
                </c:pt>
                <c:pt idx="11">
                  <c:v>21.01.2025</c:v>
                </c:pt>
                <c:pt idx="12">
                  <c:v>22.01.2025</c:v>
                </c:pt>
                <c:pt idx="13">
                  <c:v>23.01.2025</c:v>
                </c:pt>
                <c:pt idx="14">
                  <c:v>27.01.2025</c:v>
                </c:pt>
                <c:pt idx="15">
                  <c:v>28.01.2025</c:v>
                </c:pt>
                <c:pt idx="16">
                  <c:v>29.01.2025</c:v>
                </c:pt>
                <c:pt idx="17">
                  <c:v>30.01.2025</c:v>
                </c:pt>
                <c:pt idx="18">
                  <c:v>31.01.2025</c:v>
                </c:pt>
                <c:pt idx="19">
                  <c:v>03.02.2025</c:v>
                </c:pt>
                <c:pt idx="20">
                  <c:v>04.02.2025</c:v>
                </c:pt>
                <c:pt idx="21">
                  <c:v>05.02.2025</c:v>
                </c:pt>
                <c:pt idx="22">
                  <c:v>06.02.2025</c:v>
                </c:pt>
                <c:pt idx="23">
                  <c:v>07.02.2025</c:v>
                </c:pt>
                <c:pt idx="24">
                  <c:v>10.02.2025</c:v>
                </c:pt>
                <c:pt idx="25">
                  <c:v>11.02.2025</c:v>
                </c:pt>
                <c:pt idx="26">
                  <c:v>12.02.2025</c:v>
                </c:pt>
                <c:pt idx="27">
                  <c:v>13.02.2025</c:v>
                </c:pt>
                <c:pt idx="28">
                  <c:v>14.02.2025</c:v>
                </c:pt>
                <c:pt idx="29">
                  <c:v>17.02.2025</c:v>
                </c:pt>
                <c:pt idx="30">
                  <c:v>18.02.2025</c:v>
                </c:pt>
                <c:pt idx="31">
                  <c:v>19.02.2025</c:v>
                </c:pt>
                <c:pt idx="32">
                  <c:v>20.02.2025</c:v>
                </c:pt>
                <c:pt idx="33">
                  <c:v>21.02.2025</c:v>
                </c:pt>
                <c:pt idx="34">
                  <c:v>24.02.2025</c:v>
                </c:pt>
                <c:pt idx="35">
                  <c:v>25.02.2025</c:v>
                </c:pt>
                <c:pt idx="36">
                  <c:v>26.02.2025</c:v>
                </c:pt>
                <c:pt idx="37">
                  <c:v>27.02.2025</c:v>
                </c:pt>
                <c:pt idx="38">
                  <c:v>28.02.2025</c:v>
                </c:pt>
                <c:pt idx="39">
                  <c:v>03.03.2025</c:v>
                </c:pt>
                <c:pt idx="40">
                  <c:v>04.03.2025</c:v>
                </c:pt>
                <c:pt idx="41">
                  <c:v>05.03.2025</c:v>
                </c:pt>
                <c:pt idx="42">
                  <c:v>06.03.2025</c:v>
                </c:pt>
                <c:pt idx="43">
                  <c:v>07.03.2025</c:v>
                </c:pt>
                <c:pt idx="44">
                  <c:v>10.03.2025</c:v>
                </c:pt>
                <c:pt idx="45">
                  <c:v>11.03.2025</c:v>
                </c:pt>
                <c:pt idx="46">
                  <c:v>12.03.2025</c:v>
                </c:pt>
                <c:pt idx="47">
                  <c:v>13.03.2025</c:v>
                </c:pt>
                <c:pt idx="48">
                  <c:v>14.03.2025</c:v>
                </c:pt>
                <c:pt idx="49">
                  <c:v>17.03.2025</c:v>
                </c:pt>
                <c:pt idx="50">
                  <c:v>18.03.2025</c:v>
                </c:pt>
                <c:pt idx="51">
                  <c:v>19.03.2025</c:v>
                </c:pt>
                <c:pt idx="52">
                  <c:v>20.03.2025</c:v>
                </c:pt>
                <c:pt idx="53">
                  <c:v>21.03.2025</c:v>
                </c:pt>
                <c:pt idx="54">
                  <c:v>24.03.2025</c:v>
                </c:pt>
                <c:pt idx="55">
                  <c:v>25.03.2025</c:v>
                </c:pt>
                <c:pt idx="56">
                  <c:v>26.03.2025</c:v>
                </c:pt>
                <c:pt idx="57">
                  <c:v>27.03.2025</c:v>
                </c:pt>
                <c:pt idx="58">
                  <c:v>28.03.2025</c:v>
                </c:pt>
                <c:pt idx="59">
                  <c:v>31.03.2025</c:v>
                </c:pt>
                <c:pt idx="60">
                  <c:v>01.04.2025</c:v>
                </c:pt>
                <c:pt idx="61">
                  <c:v>02.04.2025</c:v>
                </c:pt>
                <c:pt idx="62">
                  <c:v>03.04.2025</c:v>
                </c:pt>
                <c:pt idx="63">
                  <c:v>04.04.2025</c:v>
                </c:pt>
                <c:pt idx="64">
                  <c:v>07.04.2025</c:v>
                </c:pt>
                <c:pt idx="65">
                  <c:v>08.04.2025</c:v>
                </c:pt>
                <c:pt idx="66">
                  <c:v>09.04.2025</c:v>
                </c:pt>
                <c:pt idx="67">
                  <c:v>10.04.2025</c:v>
                </c:pt>
                <c:pt idx="68">
                  <c:v>11.04.2025</c:v>
                </c:pt>
                <c:pt idx="69">
                  <c:v>14.04.2025</c:v>
                </c:pt>
                <c:pt idx="70">
                  <c:v>15.04.2025</c:v>
                </c:pt>
                <c:pt idx="71">
                  <c:v>16.04.2025</c:v>
                </c:pt>
                <c:pt idx="72">
                  <c:v>17.04.2025</c:v>
                </c:pt>
                <c:pt idx="73">
                  <c:v>22.04.2025</c:v>
                </c:pt>
                <c:pt idx="74">
                  <c:v>23.04.2025</c:v>
                </c:pt>
                <c:pt idx="75">
                  <c:v>24.04.2025</c:v>
                </c:pt>
                <c:pt idx="76">
                  <c:v>25.04.2025</c:v>
                </c:pt>
                <c:pt idx="77">
                  <c:v>28.04.2025</c:v>
                </c:pt>
                <c:pt idx="78">
                  <c:v>29.04.2025</c:v>
                </c:pt>
                <c:pt idx="79">
                  <c:v>30.04.2025</c:v>
                </c:pt>
                <c:pt idx="80">
                  <c:v>02.05.2025</c:v>
                </c:pt>
                <c:pt idx="81">
                  <c:v>05.05.2025</c:v>
                </c:pt>
                <c:pt idx="82">
                  <c:v>06.05.2025</c:v>
                </c:pt>
                <c:pt idx="83">
                  <c:v>07.05.2025</c:v>
                </c:pt>
                <c:pt idx="84">
                  <c:v>08.05.2025</c:v>
                </c:pt>
                <c:pt idx="85">
                  <c:v>09.05.2025</c:v>
                </c:pt>
                <c:pt idx="86">
                  <c:v>12.05.2025</c:v>
                </c:pt>
                <c:pt idx="87">
                  <c:v>13.05.2025</c:v>
                </c:pt>
                <c:pt idx="88">
                  <c:v>14.05.2025</c:v>
                </c:pt>
                <c:pt idx="89">
                  <c:v>15.05.2025</c:v>
                </c:pt>
                <c:pt idx="90">
                  <c:v>16.05.2025</c:v>
                </c:pt>
                <c:pt idx="91">
                  <c:v>19.05.2025</c:v>
                </c:pt>
                <c:pt idx="92">
                  <c:v>20.05.2025</c:v>
                </c:pt>
                <c:pt idx="93">
                  <c:v>21.05.2025</c:v>
                </c:pt>
                <c:pt idx="94">
                  <c:v>22.05.2025</c:v>
                </c:pt>
                <c:pt idx="95">
                  <c:v>23.05.2025</c:v>
                </c:pt>
                <c:pt idx="96">
                  <c:v>26.05.2025</c:v>
                </c:pt>
                <c:pt idx="97">
                  <c:v>27.05.2025</c:v>
                </c:pt>
                <c:pt idx="98">
                  <c:v>28.05.2025</c:v>
                </c:pt>
                <c:pt idx="99">
                  <c:v>29.05.2025</c:v>
                </c:pt>
                <c:pt idx="100">
                  <c:v>30.05.2025</c:v>
                </c:pt>
                <c:pt idx="101">
                  <c:v>02.06.2025</c:v>
                </c:pt>
                <c:pt idx="102">
                  <c:v>03.06.2025</c:v>
                </c:pt>
                <c:pt idx="103">
                  <c:v>04.06.2025</c:v>
                </c:pt>
                <c:pt idx="104">
                  <c:v>05.06.2025</c:v>
                </c:pt>
                <c:pt idx="105">
                  <c:v>06.06.2025</c:v>
                </c:pt>
                <c:pt idx="106">
                  <c:v>10.06.2025</c:v>
                </c:pt>
                <c:pt idx="107">
                  <c:v>11.06.2025</c:v>
                </c:pt>
                <c:pt idx="108">
                  <c:v>12.06.2025</c:v>
                </c:pt>
                <c:pt idx="109">
                  <c:v>13.06.2025</c:v>
                </c:pt>
                <c:pt idx="110">
                  <c:v>16.06.2025</c:v>
                </c:pt>
                <c:pt idx="111">
                  <c:v>17.06.2025</c:v>
                </c:pt>
                <c:pt idx="112">
                  <c:v>18.06.2025</c:v>
                </c:pt>
                <c:pt idx="113">
                  <c:v>19.06.2025</c:v>
                </c:pt>
                <c:pt idx="114">
                  <c:v>20.06.2025</c:v>
                </c:pt>
                <c:pt idx="115">
                  <c:v>23.06.2025</c:v>
                </c:pt>
                <c:pt idx="116">
                  <c:v>24.06.2025</c:v>
                </c:pt>
                <c:pt idx="117">
                  <c:v>25.06.2025</c:v>
                </c:pt>
                <c:pt idx="118">
                  <c:v>26.06.2025</c:v>
                </c:pt>
                <c:pt idx="119">
                  <c:v>27.06.2025</c:v>
                </c:pt>
                <c:pt idx="120">
                  <c:v>30.06.2025</c:v>
                </c:pt>
                <c:pt idx="121">
                  <c:v>01.07.2025</c:v>
                </c:pt>
                <c:pt idx="122">
                  <c:v>02.07.2025</c:v>
                </c:pt>
                <c:pt idx="123">
                  <c:v>03.07.2025</c:v>
                </c:pt>
                <c:pt idx="124">
                  <c:v>04.07.2025</c:v>
                </c:pt>
                <c:pt idx="125">
                  <c:v>07.07.2025</c:v>
                </c:pt>
                <c:pt idx="126">
                  <c:v>08.07.2025</c:v>
                </c:pt>
                <c:pt idx="127">
                  <c:v>09.07.2025</c:v>
                </c:pt>
                <c:pt idx="128">
                  <c:v>10.07.2025</c:v>
                </c:pt>
                <c:pt idx="129">
                  <c:v>11.07.2025</c:v>
                </c:pt>
                <c:pt idx="130">
                  <c:v>14.07.2025</c:v>
                </c:pt>
                <c:pt idx="131">
                  <c:v>15.07.2025</c:v>
                </c:pt>
                <c:pt idx="132">
                  <c:v>16.07.2025</c:v>
                </c:pt>
                <c:pt idx="133">
                  <c:v>17.07.2025</c:v>
                </c:pt>
                <c:pt idx="134">
                  <c:v>18.07.2025</c:v>
                </c:pt>
                <c:pt idx="135">
                  <c:v>21.07.2025</c:v>
                </c:pt>
                <c:pt idx="136">
                  <c:v>22.07.2025</c:v>
                </c:pt>
                <c:pt idx="137">
                  <c:v>23.07.2025</c:v>
                </c:pt>
                <c:pt idx="138">
                  <c:v>24.07.2025</c:v>
                </c:pt>
                <c:pt idx="139">
                  <c:v>25.07.2025</c:v>
                </c:pt>
                <c:pt idx="140">
                  <c:v>28.07.2025</c:v>
                </c:pt>
                <c:pt idx="141">
                  <c:v>29.07.2025</c:v>
                </c:pt>
                <c:pt idx="142">
                  <c:v>30.07.2025</c:v>
                </c:pt>
                <c:pt idx="143">
                  <c:v>31.07.2025</c:v>
                </c:pt>
                <c:pt idx="144">
                  <c:v>01.08.2025</c:v>
                </c:pt>
                <c:pt idx="145">
                  <c:v>04.08.2025</c:v>
                </c:pt>
                <c:pt idx="146">
                  <c:v>05.08.2025</c:v>
                </c:pt>
                <c:pt idx="147">
                  <c:v>06.08.2025</c:v>
                </c:pt>
                <c:pt idx="148">
                  <c:v>07.08.2025</c:v>
                </c:pt>
                <c:pt idx="149">
                  <c:v>08.08.2025</c:v>
                </c:pt>
                <c:pt idx="150">
                  <c:v>11.08.2025</c:v>
                </c:pt>
                <c:pt idx="151">
                  <c:v>12.08.2025</c:v>
                </c:pt>
                <c:pt idx="152">
                  <c:v>13.08.2025</c:v>
                </c:pt>
                <c:pt idx="153">
                  <c:v>14.08.2025</c:v>
                </c:pt>
                <c:pt idx="154">
                  <c:v>18.08.2025</c:v>
                </c:pt>
                <c:pt idx="155">
                  <c:v>19.08.2025</c:v>
                </c:pt>
                <c:pt idx="156">
                  <c:v>20.08.2025</c:v>
                </c:pt>
                <c:pt idx="157">
                  <c:v>21.08.2025</c:v>
                </c:pt>
                <c:pt idx="158">
                  <c:v>22.08.2025</c:v>
                </c:pt>
                <c:pt idx="159">
                  <c:v>25.08.2025</c:v>
                </c:pt>
                <c:pt idx="160">
                  <c:v>26.08.2025</c:v>
                </c:pt>
                <c:pt idx="161">
                  <c:v>27.08.2025</c:v>
                </c:pt>
                <c:pt idx="162">
                  <c:v>28.08.2025</c:v>
                </c:pt>
                <c:pt idx="163">
                  <c:v>29.08.2025</c:v>
                </c:pt>
                <c:pt idx="164">
                  <c:v>01.09.2025</c:v>
                </c:pt>
                <c:pt idx="165">
                  <c:v>02.09.2025</c:v>
                </c:pt>
                <c:pt idx="166">
                  <c:v>03.09.2025</c:v>
                </c:pt>
                <c:pt idx="167">
                  <c:v>04.09.2025</c:v>
                </c:pt>
                <c:pt idx="168">
                  <c:v>05.09.2025</c:v>
                </c:pt>
                <c:pt idx="169">
                  <c:v>08.09.2025</c:v>
                </c:pt>
                <c:pt idx="170">
                  <c:v>09.09.2025</c:v>
                </c:pt>
                <c:pt idx="171">
                  <c:v>10.09.2025</c:v>
                </c:pt>
                <c:pt idx="172">
                  <c:v>11.09.2025</c:v>
                </c:pt>
                <c:pt idx="173">
                  <c:v>12.09.2025</c:v>
                </c:pt>
                <c:pt idx="174">
                  <c:v>15.09.2025</c:v>
                </c:pt>
                <c:pt idx="175">
                  <c:v>16.09.2025</c:v>
                </c:pt>
                <c:pt idx="176">
                  <c:v>17.09.2025</c:v>
                </c:pt>
                <c:pt idx="177">
                  <c:v>18.09.2025</c:v>
                </c:pt>
                <c:pt idx="178">
                  <c:v>19.09.2025</c:v>
                </c:pt>
                <c:pt idx="179">
                  <c:v>22.09.2025</c:v>
                </c:pt>
                <c:pt idx="180">
                  <c:v>23.09.2025</c:v>
                </c:pt>
                <c:pt idx="181">
                  <c:v>24.09.2025</c:v>
                </c:pt>
                <c:pt idx="182">
                  <c:v>25.09.2025</c:v>
                </c:pt>
                <c:pt idx="183">
                  <c:v>26.09.2025</c:v>
                </c:pt>
                <c:pt idx="184">
                  <c:v>29.09.2025</c:v>
                </c:pt>
                <c:pt idx="185">
                  <c:v>30.09.2025</c:v>
                </c:pt>
              </c:strCache>
            </c:strRef>
          </c:cat>
          <c:val>
            <c:numRef>
              <c:f>'Stock 2025'!$F$2:$F$188</c:f>
              <c:numCache>
                <c:formatCode>0.00%</c:formatCode>
                <c:ptCount val="186"/>
                <c:pt idx="0">
                  <c:v>0</c:v>
                </c:pt>
                <c:pt idx="1">
                  <c:v>3.7135278514588865E-2</c:v>
                </c:pt>
                <c:pt idx="2">
                  <c:v>5.9681697612732121E-2</c:v>
                </c:pt>
                <c:pt idx="3">
                  <c:v>9.5490716180371304E-2</c:v>
                </c:pt>
                <c:pt idx="4">
                  <c:v>0.12599469496021221</c:v>
                </c:pt>
                <c:pt idx="5">
                  <c:v>0.11405835543766574</c:v>
                </c:pt>
                <c:pt idx="6">
                  <c:v>0.11936339522546424</c:v>
                </c:pt>
                <c:pt idx="7">
                  <c:v>0.11007957559681691</c:v>
                </c:pt>
                <c:pt idx="8">
                  <c:v>0.11007957559681691</c:v>
                </c:pt>
                <c:pt idx="9">
                  <c:v>6.8965517241379226E-2</c:v>
                </c:pt>
                <c:pt idx="10">
                  <c:v>7.4270557029177731E-2</c:v>
                </c:pt>
                <c:pt idx="11">
                  <c:v>7.4270557029177731E-2</c:v>
                </c:pt>
                <c:pt idx="12">
                  <c:v>0.11803713527851456</c:v>
                </c:pt>
                <c:pt idx="13">
                  <c:v>0.10875331564986723</c:v>
                </c:pt>
                <c:pt idx="14">
                  <c:v>8.4880636604774518E-2</c:v>
                </c:pt>
                <c:pt idx="15">
                  <c:v>0.10079575596816959</c:v>
                </c:pt>
                <c:pt idx="16">
                  <c:v>9.6816976127320986E-2</c:v>
                </c:pt>
                <c:pt idx="17">
                  <c:v>9.5490716180371304E-2</c:v>
                </c:pt>
                <c:pt idx="18">
                  <c:v>0.10344827586206895</c:v>
                </c:pt>
                <c:pt idx="19">
                  <c:v>9.6816976127320986E-2</c:v>
                </c:pt>
                <c:pt idx="20">
                  <c:v>9.8143236074270446E-2</c:v>
                </c:pt>
                <c:pt idx="21">
                  <c:v>0.12466843501326252</c:v>
                </c:pt>
                <c:pt idx="22">
                  <c:v>0.14588859416445632</c:v>
                </c:pt>
                <c:pt idx="23">
                  <c:v>0.15649867374005311</c:v>
                </c:pt>
                <c:pt idx="24">
                  <c:v>0.1551724137931032</c:v>
                </c:pt>
                <c:pt idx="25">
                  <c:v>0.16445623342175053</c:v>
                </c:pt>
                <c:pt idx="26">
                  <c:v>0.176392572944297</c:v>
                </c:pt>
                <c:pt idx="27">
                  <c:v>0.24403183023872677</c:v>
                </c:pt>
                <c:pt idx="28">
                  <c:v>0.26127320954907152</c:v>
                </c:pt>
                <c:pt idx="29">
                  <c:v>0.25198938992042441</c:v>
                </c:pt>
                <c:pt idx="30">
                  <c:v>0.2718832891246683</c:v>
                </c:pt>
                <c:pt idx="31">
                  <c:v>0.25729442970822269</c:v>
                </c:pt>
                <c:pt idx="32">
                  <c:v>0.22546419098143233</c:v>
                </c:pt>
                <c:pt idx="33">
                  <c:v>0.21485411140583532</c:v>
                </c:pt>
                <c:pt idx="34">
                  <c:v>0.21750663129973469</c:v>
                </c:pt>
                <c:pt idx="35">
                  <c:v>0.21750663129973469</c:v>
                </c:pt>
                <c:pt idx="36">
                  <c:v>0.21618037135278501</c:v>
                </c:pt>
                <c:pt idx="37">
                  <c:v>0.20424403183023854</c:v>
                </c:pt>
                <c:pt idx="38">
                  <c:v>0.22148541114058329</c:v>
                </c:pt>
                <c:pt idx="39">
                  <c:v>0.20822281167108736</c:v>
                </c:pt>
                <c:pt idx="40">
                  <c:v>0.17506631299734732</c:v>
                </c:pt>
                <c:pt idx="41">
                  <c:v>0.20291777188328908</c:v>
                </c:pt>
                <c:pt idx="42">
                  <c:v>0.22679045092838179</c:v>
                </c:pt>
                <c:pt idx="43">
                  <c:v>0.21750663129973469</c:v>
                </c:pt>
                <c:pt idx="44">
                  <c:v>0.2122015915119364</c:v>
                </c:pt>
                <c:pt idx="45">
                  <c:v>0.2122015915119364</c:v>
                </c:pt>
                <c:pt idx="46">
                  <c:v>0.2068965517241379</c:v>
                </c:pt>
                <c:pt idx="47">
                  <c:v>0.20026525198938994</c:v>
                </c:pt>
                <c:pt idx="48">
                  <c:v>0.19628647214854111</c:v>
                </c:pt>
                <c:pt idx="49">
                  <c:v>0.2068965517241379</c:v>
                </c:pt>
                <c:pt idx="50">
                  <c:v>0.19761273209549057</c:v>
                </c:pt>
                <c:pt idx="51">
                  <c:v>0.19761273209549057</c:v>
                </c:pt>
                <c:pt idx="52">
                  <c:v>0.19628647214854111</c:v>
                </c:pt>
                <c:pt idx="53">
                  <c:v>0.18700265251989379</c:v>
                </c:pt>
                <c:pt idx="54">
                  <c:v>0.16843501326259935</c:v>
                </c:pt>
                <c:pt idx="55">
                  <c:v>0.17241379310344818</c:v>
                </c:pt>
                <c:pt idx="56">
                  <c:v>0.16710875331564967</c:v>
                </c:pt>
                <c:pt idx="57">
                  <c:v>0.14588859416445632</c:v>
                </c:pt>
                <c:pt idx="58">
                  <c:v>0.13395225464190963</c:v>
                </c:pt>
                <c:pt idx="59">
                  <c:v>0.13660477453580899</c:v>
                </c:pt>
                <c:pt idx="60">
                  <c:v>0.14190981432360728</c:v>
                </c:pt>
                <c:pt idx="61">
                  <c:v>0.15384615384615374</c:v>
                </c:pt>
                <c:pt idx="62">
                  <c:v>0.14190981432360728</c:v>
                </c:pt>
                <c:pt idx="63">
                  <c:v>9.01856763925728E-2</c:v>
                </c:pt>
                <c:pt idx="64">
                  <c:v>5.0397877984084793E-2</c:v>
                </c:pt>
                <c:pt idx="65">
                  <c:v>9.6816976127320986E-2</c:v>
                </c:pt>
                <c:pt idx="66">
                  <c:v>5.3050397877984157E-2</c:v>
                </c:pt>
                <c:pt idx="67">
                  <c:v>0.13660477453580899</c:v>
                </c:pt>
                <c:pt idx="68">
                  <c:v>0.15384615384615374</c:v>
                </c:pt>
                <c:pt idx="69">
                  <c:v>0.15384615384615374</c:v>
                </c:pt>
                <c:pt idx="70">
                  <c:v>0.16710875331564967</c:v>
                </c:pt>
                <c:pt idx="71">
                  <c:v>0.16180371352785139</c:v>
                </c:pt>
                <c:pt idx="72">
                  <c:v>0.16445623342175053</c:v>
                </c:pt>
                <c:pt idx="73">
                  <c:v>0.15649867374005311</c:v>
                </c:pt>
                <c:pt idx="74">
                  <c:v>0.16578249336870021</c:v>
                </c:pt>
                <c:pt idx="75">
                  <c:v>0.16843501326259935</c:v>
                </c:pt>
                <c:pt idx="76">
                  <c:v>0.16047745358090171</c:v>
                </c:pt>
                <c:pt idx="77">
                  <c:v>0.16843501326259935</c:v>
                </c:pt>
                <c:pt idx="78">
                  <c:v>0.16843501326259935</c:v>
                </c:pt>
                <c:pt idx="79">
                  <c:v>0.16180371352785139</c:v>
                </c:pt>
                <c:pt idx="80">
                  <c:v>0.18832891246684325</c:v>
                </c:pt>
                <c:pt idx="81">
                  <c:v>0.14058355437665782</c:v>
                </c:pt>
                <c:pt idx="82">
                  <c:v>0.14456233421750642</c:v>
                </c:pt>
                <c:pt idx="83">
                  <c:v>0.13527851458885931</c:v>
                </c:pt>
                <c:pt idx="84">
                  <c:v>0.1153846153846152</c:v>
                </c:pt>
                <c:pt idx="85">
                  <c:v>0.14058355437665782</c:v>
                </c:pt>
                <c:pt idx="86">
                  <c:v>0.15649867374005311</c:v>
                </c:pt>
                <c:pt idx="87">
                  <c:v>0.15384615384615374</c:v>
                </c:pt>
                <c:pt idx="88">
                  <c:v>0.18435013262599464</c:v>
                </c:pt>
                <c:pt idx="89">
                  <c:v>0.15384615384615374</c:v>
                </c:pt>
                <c:pt idx="90">
                  <c:v>0.17904509283819636</c:v>
                </c:pt>
                <c:pt idx="91">
                  <c:v>0.24801061007957537</c:v>
                </c:pt>
                <c:pt idx="92">
                  <c:v>0.22944297082228116</c:v>
                </c:pt>
                <c:pt idx="93">
                  <c:v>0.21750663129973469</c:v>
                </c:pt>
                <c:pt idx="94">
                  <c:v>0.23076923076923062</c:v>
                </c:pt>
                <c:pt idx="95">
                  <c:v>0.24933687002652505</c:v>
                </c:pt>
                <c:pt idx="96">
                  <c:v>0.24801061007957537</c:v>
                </c:pt>
                <c:pt idx="97">
                  <c:v>0.25994694960212184</c:v>
                </c:pt>
                <c:pt idx="98">
                  <c:v>0.28381962864721477</c:v>
                </c:pt>
                <c:pt idx="99">
                  <c:v>0.27320954907161799</c:v>
                </c:pt>
                <c:pt idx="100">
                  <c:v>0.25331564986737387</c:v>
                </c:pt>
                <c:pt idx="101">
                  <c:v>0.27320954907161799</c:v>
                </c:pt>
                <c:pt idx="102">
                  <c:v>0.32493368700265246</c:v>
                </c:pt>
                <c:pt idx="103">
                  <c:v>0.30769230769230749</c:v>
                </c:pt>
                <c:pt idx="104">
                  <c:v>0.3183023872679045</c:v>
                </c:pt>
                <c:pt idx="105">
                  <c:v>0.32228116710875332</c:v>
                </c:pt>
                <c:pt idx="106">
                  <c:v>0.31299734748010599</c:v>
                </c:pt>
                <c:pt idx="107">
                  <c:v>0.32360742705570278</c:v>
                </c:pt>
                <c:pt idx="108">
                  <c:v>0.33687002652519871</c:v>
                </c:pt>
                <c:pt idx="109">
                  <c:v>0.33952254641909807</c:v>
                </c:pt>
                <c:pt idx="110">
                  <c:v>0.33687002652519871</c:v>
                </c:pt>
                <c:pt idx="111">
                  <c:v>0.33952254641909807</c:v>
                </c:pt>
                <c:pt idx="112">
                  <c:v>0.39257294429708223</c:v>
                </c:pt>
                <c:pt idx="113">
                  <c:v>0.41114058355437666</c:v>
                </c:pt>
                <c:pt idx="114">
                  <c:v>0.42970822281167087</c:v>
                </c:pt>
                <c:pt idx="115">
                  <c:v>0.46153846153846145</c:v>
                </c:pt>
                <c:pt idx="116">
                  <c:v>0.46684350132625974</c:v>
                </c:pt>
                <c:pt idx="117">
                  <c:v>0.46153846153846145</c:v>
                </c:pt>
                <c:pt idx="118">
                  <c:v>0.46153846153846145</c:v>
                </c:pt>
                <c:pt idx="119">
                  <c:v>0.45888594164456231</c:v>
                </c:pt>
                <c:pt idx="120">
                  <c:v>0.51193633952254625</c:v>
                </c:pt>
                <c:pt idx="121">
                  <c:v>0.58620689655172398</c:v>
                </c:pt>
                <c:pt idx="122">
                  <c:v>0.53846153846153832</c:v>
                </c:pt>
                <c:pt idx="123">
                  <c:v>0.58620689655172398</c:v>
                </c:pt>
                <c:pt idx="124">
                  <c:v>0.62864721485411135</c:v>
                </c:pt>
                <c:pt idx="125">
                  <c:v>0.67108753315649849</c:v>
                </c:pt>
                <c:pt idx="126">
                  <c:v>0.64986737400530492</c:v>
                </c:pt>
                <c:pt idx="127">
                  <c:v>0.66047745358090171</c:v>
                </c:pt>
                <c:pt idx="128">
                  <c:v>0.60477453580901841</c:v>
                </c:pt>
                <c:pt idx="129">
                  <c:v>0.58620689655172398</c:v>
                </c:pt>
                <c:pt idx="130">
                  <c:v>0.52785145888594154</c:v>
                </c:pt>
                <c:pt idx="131">
                  <c:v>0.55702917771883276</c:v>
                </c:pt>
                <c:pt idx="132">
                  <c:v>0.54641909814323597</c:v>
                </c:pt>
                <c:pt idx="133">
                  <c:v>0.54907161803713511</c:v>
                </c:pt>
                <c:pt idx="134">
                  <c:v>0.5596816976127319</c:v>
                </c:pt>
                <c:pt idx="135">
                  <c:v>0.53846153846153832</c:v>
                </c:pt>
                <c:pt idx="136">
                  <c:v>0.53846153846153832</c:v>
                </c:pt>
                <c:pt idx="137">
                  <c:v>0.5649867374005304</c:v>
                </c:pt>
                <c:pt idx="138">
                  <c:v>0.57029177718832891</c:v>
                </c:pt>
                <c:pt idx="139">
                  <c:v>0.59416445623342162</c:v>
                </c:pt>
                <c:pt idx="140">
                  <c:v>0.58885941644562312</c:v>
                </c:pt>
                <c:pt idx="141">
                  <c:v>0.59151193633952248</c:v>
                </c:pt>
                <c:pt idx="142">
                  <c:v>0.58355437665782484</c:v>
                </c:pt>
                <c:pt idx="143">
                  <c:v>0.59416445623342162</c:v>
                </c:pt>
                <c:pt idx="144">
                  <c:v>0.58620689655172398</c:v>
                </c:pt>
                <c:pt idx="145">
                  <c:v>0.59416445623342162</c:v>
                </c:pt>
                <c:pt idx="146">
                  <c:v>0.59681697612732099</c:v>
                </c:pt>
                <c:pt idx="147">
                  <c:v>0.59681697612732099</c:v>
                </c:pt>
                <c:pt idx="148">
                  <c:v>0.61007957559681691</c:v>
                </c:pt>
                <c:pt idx="149">
                  <c:v>0.59946949602121991</c:v>
                </c:pt>
                <c:pt idx="150">
                  <c:v>0.60212201591511927</c:v>
                </c:pt>
                <c:pt idx="151">
                  <c:v>0.58885941644562312</c:v>
                </c:pt>
                <c:pt idx="152">
                  <c:v>0.58885941644562312</c:v>
                </c:pt>
                <c:pt idx="153">
                  <c:v>0.56763925729442954</c:v>
                </c:pt>
                <c:pt idx="154">
                  <c:v>0.54376657824933683</c:v>
                </c:pt>
                <c:pt idx="155">
                  <c:v>0.55702917771883276</c:v>
                </c:pt>
                <c:pt idx="156">
                  <c:v>0.55437665782493362</c:v>
                </c:pt>
                <c:pt idx="157">
                  <c:v>0.55172413793103448</c:v>
                </c:pt>
                <c:pt idx="158">
                  <c:v>0.54907161803713511</c:v>
                </c:pt>
                <c:pt idx="159">
                  <c:v>0.54907161803713511</c:v>
                </c:pt>
                <c:pt idx="160">
                  <c:v>0.55172413793103448</c:v>
                </c:pt>
                <c:pt idx="161">
                  <c:v>0.55702917771883276</c:v>
                </c:pt>
                <c:pt idx="162">
                  <c:v>0.54907161803713511</c:v>
                </c:pt>
                <c:pt idx="163">
                  <c:v>0.52785145888594154</c:v>
                </c:pt>
                <c:pt idx="164">
                  <c:v>0.51193633952254625</c:v>
                </c:pt>
                <c:pt idx="165">
                  <c:v>0.49071618037135267</c:v>
                </c:pt>
                <c:pt idx="166">
                  <c:v>0.5251989389920424</c:v>
                </c:pt>
                <c:pt idx="167">
                  <c:v>0.49602122015915096</c:v>
                </c:pt>
                <c:pt idx="168">
                  <c:v>0.49867374005305032</c:v>
                </c:pt>
                <c:pt idx="169">
                  <c:v>0.50132625994694946</c:v>
                </c:pt>
                <c:pt idx="170">
                  <c:v>0.49867374005305032</c:v>
                </c:pt>
                <c:pt idx="171">
                  <c:v>0.50132625994694946</c:v>
                </c:pt>
                <c:pt idx="172">
                  <c:v>0.50132625994694946</c:v>
                </c:pt>
                <c:pt idx="173">
                  <c:v>0.50132625994694946</c:v>
                </c:pt>
                <c:pt idx="174">
                  <c:v>0.50663129973474774</c:v>
                </c:pt>
                <c:pt idx="175">
                  <c:v>0.50663129973474774</c:v>
                </c:pt>
                <c:pt idx="176">
                  <c:v>0.51724137931034475</c:v>
                </c:pt>
                <c:pt idx="177">
                  <c:v>0.53315649867373982</c:v>
                </c:pt>
                <c:pt idx="178">
                  <c:v>0.60212201591511927</c:v>
                </c:pt>
                <c:pt idx="179">
                  <c:v>0.58090185676392569</c:v>
                </c:pt>
                <c:pt idx="180">
                  <c:v>0.57824933687002633</c:v>
                </c:pt>
                <c:pt idx="181">
                  <c:v>0.58090185676392569</c:v>
                </c:pt>
                <c:pt idx="182">
                  <c:v>0.56763925729442954</c:v>
                </c:pt>
                <c:pt idx="183">
                  <c:v>0.57559681697612719</c:v>
                </c:pt>
                <c:pt idx="184">
                  <c:v>0.60477453580901841</c:v>
                </c:pt>
                <c:pt idx="185">
                  <c:v>0.6233421750663128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Stock 2025'!$G$1</c:f>
              <c:strCache>
                <c:ptCount val="1"/>
                <c:pt idx="0">
                  <c:v>BET%</c:v>
                </c:pt>
              </c:strCache>
            </c:strRef>
          </c:tx>
          <c:spPr>
            <a:ln>
              <a:solidFill>
                <a:schemeClr val="accent5"/>
              </a:solidFill>
            </a:ln>
          </c:spPr>
          <c:marker>
            <c:symbol val="none"/>
          </c:marker>
          <c:cat>
            <c:strRef>
              <c:f>'Stock 2025'!$A$2:$A$188</c:f>
              <c:strCache>
                <c:ptCount val="186"/>
                <c:pt idx="0">
                  <c:v>30.12.2024</c:v>
                </c:pt>
                <c:pt idx="1">
                  <c:v>03.01.2025</c:v>
                </c:pt>
                <c:pt idx="2">
                  <c:v>08.01.2025</c:v>
                </c:pt>
                <c:pt idx="3">
                  <c:v>09.01.2025</c:v>
                </c:pt>
                <c:pt idx="4">
                  <c:v>10.01.2025</c:v>
                </c:pt>
                <c:pt idx="5">
                  <c:v>13.01.2025</c:v>
                </c:pt>
                <c:pt idx="6">
                  <c:v>14.01.2025</c:v>
                </c:pt>
                <c:pt idx="7">
                  <c:v>15.01.2025</c:v>
                </c:pt>
                <c:pt idx="8">
                  <c:v>16.01.2025</c:v>
                </c:pt>
                <c:pt idx="9">
                  <c:v>17.01.2025</c:v>
                </c:pt>
                <c:pt idx="10">
                  <c:v>20.01.2025</c:v>
                </c:pt>
                <c:pt idx="11">
                  <c:v>21.01.2025</c:v>
                </c:pt>
                <c:pt idx="12">
                  <c:v>22.01.2025</c:v>
                </c:pt>
                <c:pt idx="13">
                  <c:v>23.01.2025</c:v>
                </c:pt>
                <c:pt idx="14">
                  <c:v>27.01.2025</c:v>
                </c:pt>
                <c:pt idx="15">
                  <c:v>28.01.2025</c:v>
                </c:pt>
                <c:pt idx="16">
                  <c:v>29.01.2025</c:v>
                </c:pt>
                <c:pt idx="17">
                  <c:v>30.01.2025</c:v>
                </c:pt>
                <c:pt idx="18">
                  <c:v>31.01.2025</c:v>
                </c:pt>
                <c:pt idx="19">
                  <c:v>03.02.2025</c:v>
                </c:pt>
                <c:pt idx="20">
                  <c:v>04.02.2025</c:v>
                </c:pt>
                <c:pt idx="21">
                  <c:v>05.02.2025</c:v>
                </c:pt>
                <c:pt idx="22">
                  <c:v>06.02.2025</c:v>
                </c:pt>
                <c:pt idx="23">
                  <c:v>07.02.2025</c:v>
                </c:pt>
                <c:pt idx="24">
                  <c:v>10.02.2025</c:v>
                </c:pt>
                <c:pt idx="25">
                  <c:v>11.02.2025</c:v>
                </c:pt>
                <c:pt idx="26">
                  <c:v>12.02.2025</c:v>
                </c:pt>
                <c:pt idx="27">
                  <c:v>13.02.2025</c:v>
                </c:pt>
                <c:pt idx="28">
                  <c:v>14.02.2025</c:v>
                </c:pt>
                <c:pt idx="29">
                  <c:v>17.02.2025</c:v>
                </c:pt>
                <c:pt idx="30">
                  <c:v>18.02.2025</c:v>
                </c:pt>
                <c:pt idx="31">
                  <c:v>19.02.2025</c:v>
                </c:pt>
                <c:pt idx="32">
                  <c:v>20.02.2025</c:v>
                </c:pt>
                <c:pt idx="33">
                  <c:v>21.02.2025</c:v>
                </c:pt>
                <c:pt idx="34">
                  <c:v>24.02.2025</c:v>
                </c:pt>
                <c:pt idx="35">
                  <c:v>25.02.2025</c:v>
                </c:pt>
                <c:pt idx="36">
                  <c:v>26.02.2025</c:v>
                </c:pt>
                <c:pt idx="37">
                  <c:v>27.02.2025</c:v>
                </c:pt>
                <c:pt idx="38">
                  <c:v>28.02.2025</c:v>
                </c:pt>
                <c:pt idx="39">
                  <c:v>03.03.2025</c:v>
                </c:pt>
                <c:pt idx="40">
                  <c:v>04.03.2025</c:v>
                </c:pt>
                <c:pt idx="41">
                  <c:v>05.03.2025</c:v>
                </c:pt>
                <c:pt idx="42">
                  <c:v>06.03.2025</c:v>
                </c:pt>
                <c:pt idx="43">
                  <c:v>07.03.2025</c:v>
                </c:pt>
                <c:pt idx="44">
                  <c:v>10.03.2025</c:v>
                </c:pt>
                <c:pt idx="45">
                  <c:v>11.03.2025</c:v>
                </c:pt>
                <c:pt idx="46">
                  <c:v>12.03.2025</c:v>
                </c:pt>
                <c:pt idx="47">
                  <c:v>13.03.2025</c:v>
                </c:pt>
                <c:pt idx="48">
                  <c:v>14.03.2025</c:v>
                </c:pt>
                <c:pt idx="49">
                  <c:v>17.03.2025</c:v>
                </c:pt>
                <c:pt idx="50">
                  <c:v>18.03.2025</c:v>
                </c:pt>
                <c:pt idx="51">
                  <c:v>19.03.2025</c:v>
                </c:pt>
                <c:pt idx="52">
                  <c:v>20.03.2025</c:v>
                </c:pt>
                <c:pt idx="53">
                  <c:v>21.03.2025</c:v>
                </c:pt>
                <c:pt idx="54">
                  <c:v>24.03.2025</c:v>
                </c:pt>
                <c:pt idx="55">
                  <c:v>25.03.2025</c:v>
                </c:pt>
                <c:pt idx="56">
                  <c:v>26.03.2025</c:v>
                </c:pt>
                <c:pt idx="57">
                  <c:v>27.03.2025</c:v>
                </c:pt>
                <c:pt idx="58">
                  <c:v>28.03.2025</c:v>
                </c:pt>
                <c:pt idx="59">
                  <c:v>31.03.2025</c:v>
                </c:pt>
                <c:pt idx="60">
                  <c:v>01.04.2025</c:v>
                </c:pt>
                <c:pt idx="61">
                  <c:v>02.04.2025</c:v>
                </c:pt>
                <c:pt idx="62">
                  <c:v>03.04.2025</c:v>
                </c:pt>
                <c:pt idx="63">
                  <c:v>04.04.2025</c:v>
                </c:pt>
                <c:pt idx="64">
                  <c:v>07.04.2025</c:v>
                </c:pt>
                <c:pt idx="65">
                  <c:v>08.04.2025</c:v>
                </c:pt>
                <c:pt idx="66">
                  <c:v>09.04.2025</c:v>
                </c:pt>
                <c:pt idx="67">
                  <c:v>10.04.2025</c:v>
                </c:pt>
                <c:pt idx="68">
                  <c:v>11.04.2025</c:v>
                </c:pt>
                <c:pt idx="69">
                  <c:v>14.04.2025</c:v>
                </c:pt>
                <c:pt idx="70">
                  <c:v>15.04.2025</c:v>
                </c:pt>
                <c:pt idx="71">
                  <c:v>16.04.2025</c:v>
                </c:pt>
                <c:pt idx="72">
                  <c:v>17.04.2025</c:v>
                </c:pt>
                <c:pt idx="73">
                  <c:v>22.04.2025</c:v>
                </c:pt>
                <c:pt idx="74">
                  <c:v>23.04.2025</c:v>
                </c:pt>
                <c:pt idx="75">
                  <c:v>24.04.2025</c:v>
                </c:pt>
                <c:pt idx="76">
                  <c:v>25.04.2025</c:v>
                </c:pt>
                <c:pt idx="77">
                  <c:v>28.04.2025</c:v>
                </c:pt>
                <c:pt idx="78">
                  <c:v>29.04.2025</c:v>
                </c:pt>
                <c:pt idx="79">
                  <c:v>30.04.2025</c:v>
                </c:pt>
                <c:pt idx="80">
                  <c:v>02.05.2025</c:v>
                </c:pt>
                <c:pt idx="81">
                  <c:v>05.05.2025</c:v>
                </c:pt>
                <c:pt idx="82">
                  <c:v>06.05.2025</c:v>
                </c:pt>
                <c:pt idx="83">
                  <c:v>07.05.2025</c:v>
                </c:pt>
                <c:pt idx="84">
                  <c:v>08.05.2025</c:v>
                </c:pt>
                <c:pt idx="85">
                  <c:v>09.05.2025</c:v>
                </c:pt>
                <c:pt idx="86">
                  <c:v>12.05.2025</c:v>
                </c:pt>
                <c:pt idx="87">
                  <c:v>13.05.2025</c:v>
                </c:pt>
                <c:pt idx="88">
                  <c:v>14.05.2025</c:v>
                </c:pt>
                <c:pt idx="89">
                  <c:v>15.05.2025</c:v>
                </c:pt>
                <c:pt idx="90">
                  <c:v>16.05.2025</c:v>
                </c:pt>
                <c:pt idx="91">
                  <c:v>19.05.2025</c:v>
                </c:pt>
                <c:pt idx="92">
                  <c:v>20.05.2025</c:v>
                </c:pt>
                <c:pt idx="93">
                  <c:v>21.05.2025</c:v>
                </c:pt>
                <c:pt idx="94">
                  <c:v>22.05.2025</c:v>
                </c:pt>
                <c:pt idx="95">
                  <c:v>23.05.2025</c:v>
                </c:pt>
                <c:pt idx="96">
                  <c:v>26.05.2025</c:v>
                </c:pt>
                <c:pt idx="97">
                  <c:v>27.05.2025</c:v>
                </c:pt>
                <c:pt idx="98">
                  <c:v>28.05.2025</c:v>
                </c:pt>
                <c:pt idx="99">
                  <c:v>29.05.2025</c:v>
                </c:pt>
                <c:pt idx="100">
                  <c:v>30.05.2025</c:v>
                </c:pt>
                <c:pt idx="101">
                  <c:v>02.06.2025</c:v>
                </c:pt>
                <c:pt idx="102">
                  <c:v>03.06.2025</c:v>
                </c:pt>
                <c:pt idx="103">
                  <c:v>04.06.2025</c:v>
                </c:pt>
                <c:pt idx="104">
                  <c:v>05.06.2025</c:v>
                </c:pt>
                <c:pt idx="105">
                  <c:v>06.06.2025</c:v>
                </c:pt>
                <c:pt idx="106">
                  <c:v>10.06.2025</c:v>
                </c:pt>
                <c:pt idx="107">
                  <c:v>11.06.2025</c:v>
                </c:pt>
                <c:pt idx="108">
                  <c:v>12.06.2025</c:v>
                </c:pt>
                <c:pt idx="109">
                  <c:v>13.06.2025</c:v>
                </c:pt>
                <c:pt idx="110">
                  <c:v>16.06.2025</c:v>
                </c:pt>
                <c:pt idx="111">
                  <c:v>17.06.2025</c:v>
                </c:pt>
                <c:pt idx="112">
                  <c:v>18.06.2025</c:v>
                </c:pt>
                <c:pt idx="113">
                  <c:v>19.06.2025</c:v>
                </c:pt>
                <c:pt idx="114">
                  <c:v>20.06.2025</c:v>
                </c:pt>
                <c:pt idx="115">
                  <c:v>23.06.2025</c:v>
                </c:pt>
                <c:pt idx="116">
                  <c:v>24.06.2025</c:v>
                </c:pt>
                <c:pt idx="117">
                  <c:v>25.06.2025</c:v>
                </c:pt>
                <c:pt idx="118">
                  <c:v>26.06.2025</c:v>
                </c:pt>
                <c:pt idx="119">
                  <c:v>27.06.2025</c:v>
                </c:pt>
                <c:pt idx="120">
                  <c:v>30.06.2025</c:v>
                </c:pt>
                <c:pt idx="121">
                  <c:v>01.07.2025</c:v>
                </c:pt>
                <c:pt idx="122">
                  <c:v>02.07.2025</c:v>
                </c:pt>
                <c:pt idx="123">
                  <c:v>03.07.2025</c:v>
                </c:pt>
                <c:pt idx="124">
                  <c:v>04.07.2025</c:v>
                </c:pt>
                <c:pt idx="125">
                  <c:v>07.07.2025</c:v>
                </c:pt>
                <c:pt idx="126">
                  <c:v>08.07.2025</c:v>
                </c:pt>
                <c:pt idx="127">
                  <c:v>09.07.2025</c:v>
                </c:pt>
                <c:pt idx="128">
                  <c:v>10.07.2025</c:v>
                </c:pt>
                <c:pt idx="129">
                  <c:v>11.07.2025</c:v>
                </c:pt>
                <c:pt idx="130">
                  <c:v>14.07.2025</c:v>
                </c:pt>
                <c:pt idx="131">
                  <c:v>15.07.2025</c:v>
                </c:pt>
                <c:pt idx="132">
                  <c:v>16.07.2025</c:v>
                </c:pt>
                <c:pt idx="133">
                  <c:v>17.07.2025</c:v>
                </c:pt>
                <c:pt idx="134">
                  <c:v>18.07.2025</c:v>
                </c:pt>
                <c:pt idx="135">
                  <c:v>21.07.2025</c:v>
                </c:pt>
                <c:pt idx="136">
                  <c:v>22.07.2025</c:v>
                </c:pt>
                <c:pt idx="137">
                  <c:v>23.07.2025</c:v>
                </c:pt>
                <c:pt idx="138">
                  <c:v>24.07.2025</c:v>
                </c:pt>
                <c:pt idx="139">
                  <c:v>25.07.2025</c:v>
                </c:pt>
                <c:pt idx="140">
                  <c:v>28.07.2025</c:v>
                </c:pt>
                <c:pt idx="141">
                  <c:v>29.07.2025</c:v>
                </c:pt>
                <c:pt idx="142">
                  <c:v>30.07.2025</c:v>
                </c:pt>
                <c:pt idx="143">
                  <c:v>31.07.2025</c:v>
                </c:pt>
                <c:pt idx="144">
                  <c:v>01.08.2025</c:v>
                </c:pt>
                <c:pt idx="145">
                  <c:v>04.08.2025</c:v>
                </c:pt>
                <c:pt idx="146">
                  <c:v>05.08.2025</c:v>
                </c:pt>
                <c:pt idx="147">
                  <c:v>06.08.2025</c:v>
                </c:pt>
                <c:pt idx="148">
                  <c:v>07.08.2025</c:v>
                </c:pt>
                <c:pt idx="149">
                  <c:v>08.08.2025</c:v>
                </c:pt>
                <c:pt idx="150">
                  <c:v>11.08.2025</c:v>
                </c:pt>
                <c:pt idx="151">
                  <c:v>12.08.2025</c:v>
                </c:pt>
                <c:pt idx="152">
                  <c:v>13.08.2025</c:v>
                </c:pt>
                <c:pt idx="153">
                  <c:v>14.08.2025</c:v>
                </c:pt>
                <c:pt idx="154">
                  <c:v>18.08.2025</c:v>
                </c:pt>
                <c:pt idx="155">
                  <c:v>19.08.2025</c:v>
                </c:pt>
                <c:pt idx="156">
                  <c:v>20.08.2025</c:v>
                </c:pt>
                <c:pt idx="157">
                  <c:v>21.08.2025</c:v>
                </c:pt>
                <c:pt idx="158">
                  <c:v>22.08.2025</c:v>
                </c:pt>
                <c:pt idx="159">
                  <c:v>25.08.2025</c:v>
                </c:pt>
                <c:pt idx="160">
                  <c:v>26.08.2025</c:v>
                </c:pt>
                <c:pt idx="161">
                  <c:v>27.08.2025</c:v>
                </c:pt>
                <c:pt idx="162">
                  <c:v>28.08.2025</c:v>
                </c:pt>
                <c:pt idx="163">
                  <c:v>29.08.2025</c:v>
                </c:pt>
                <c:pt idx="164">
                  <c:v>01.09.2025</c:v>
                </c:pt>
                <c:pt idx="165">
                  <c:v>02.09.2025</c:v>
                </c:pt>
                <c:pt idx="166">
                  <c:v>03.09.2025</c:v>
                </c:pt>
                <c:pt idx="167">
                  <c:v>04.09.2025</c:v>
                </c:pt>
                <c:pt idx="168">
                  <c:v>05.09.2025</c:v>
                </c:pt>
                <c:pt idx="169">
                  <c:v>08.09.2025</c:v>
                </c:pt>
                <c:pt idx="170">
                  <c:v>09.09.2025</c:v>
                </c:pt>
                <c:pt idx="171">
                  <c:v>10.09.2025</c:v>
                </c:pt>
                <c:pt idx="172">
                  <c:v>11.09.2025</c:v>
                </c:pt>
                <c:pt idx="173">
                  <c:v>12.09.2025</c:v>
                </c:pt>
                <c:pt idx="174">
                  <c:v>15.09.2025</c:v>
                </c:pt>
                <c:pt idx="175">
                  <c:v>16.09.2025</c:v>
                </c:pt>
                <c:pt idx="176">
                  <c:v>17.09.2025</c:v>
                </c:pt>
                <c:pt idx="177">
                  <c:v>18.09.2025</c:v>
                </c:pt>
                <c:pt idx="178">
                  <c:v>19.09.2025</c:v>
                </c:pt>
                <c:pt idx="179">
                  <c:v>22.09.2025</c:v>
                </c:pt>
                <c:pt idx="180">
                  <c:v>23.09.2025</c:v>
                </c:pt>
                <c:pt idx="181">
                  <c:v>24.09.2025</c:v>
                </c:pt>
                <c:pt idx="182">
                  <c:v>25.09.2025</c:v>
                </c:pt>
                <c:pt idx="183">
                  <c:v>26.09.2025</c:v>
                </c:pt>
                <c:pt idx="184">
                  <c:v>29.09.2025</c:v>
                </c:pt>
                <c:pt idx="185">
                  <c:v>30.09.2025</c:v>
                </c:pt>
              </c:strCache>
            </c:strRef>
          </c:cat>
          <c:val>
            <c:numRef>
              <c:f>'Stock 2025'!$G$2:$G$188</c:f>
              <c:numCache>
                <c:formatCode>0.00%</c:formatCode>
                <c:ptCount val="186"/>
                <c:pt idx="0">
                  <c:v>0</c:v>
                </c:pt>
                <c:pt idx="1">
                  <c:v>1.8596653858230061E-2</c:v>
                </c:pt>
                <c:pt idx="2">
                  <c:v>2.3780631849647849E-2</c:v>
                </c:pt>
                <c:pt idx="3">
                  <c:v>2.2281895249913974E-2</c:v>
                </c:pt>
                <c:pt idx="4">
                  <c:v>1.9846597790170728E-2</c:v>
                </c:pt>
                <c:pt idx="5">
                  <c:v>1.5395840497585356E-2</c:v>
                </c:pt>
                <c:pt idx="6">
                  <c:v>2.0875259782007438E-2</c:v>
                </c:pt>
                <c:pt idx="7">
                  <c:v>1.6543516289640126E-2</c:v>
                </c:pt>
                <c:pt idx="8">
                  <c:v>1.7624807499663664E-2</c:v>
                </c:pt>
                <c:pt idx="9">
                  <c:v>1.2392386705141867E-2</c:v>
                </c:pt>
                <c:pt idx="10">
                  <c:v>1.153835802819847E-2</c:v>
                </c:pt>
                <c:pt idx="11">
                  <c:v>1.231224675926601E-2</c:v>
                </c:pt>
                <c:pt idx="12">
                  <c:v>1.8402882645814245E-2</c:v>
                </c:pt>
                <c:pt idx="13">
                  <c:v>2.0420734715847155E-2</c:v>
                </c:pt>
                <c:pt idx="14">
                  <c:v>1.5366535592003849E-2</c:v>
                </c:pt>
                <c:pt idx="15">
                  <c:v>1.8507543022890705E-2</c:v>
                </c:pt>
                <c:pt idx="16">
                  <c:v>1.6992658822122308E-2</c:v>
                </c:pt>
                <c:pt idx="17">
                  <c:v>1.7480077149649276E-2</c:v>
                </c:pt>
                <c:pt idx="18">
                  <c:v>1.6682864105976192E-2</c:v>
                </c:pt>
                <c:pt idx="19">
                  <c:v>1.4662021739455522E-2</c:v>
                </c:pt>
                <c:pt idx="20">
                  <c:v>1.4626138181600856E-2</c:v>
                </c:pt>
                <c:pt idx="21">
                  <c:v>2.1522359941988256E-2</c:v>
                </c:pt>
                <c:pt idx="22">
                  <c:v>2.5149589581807019E-2</c:v>
                </c:pt>
                <c:pt idx="23">
                  <c:v>2.0501472721020209E-2</c:v>
                </c:pt>
                <c:pt idx="24">
                  <c:v>2.493727853116634E-2</c:v>
                </c:pt>
                <c:pt idx="25">
                  <c:v>2.9964564986618258E-2</c:v>
                </c:pt>
                <c:pt idx="26">
                  <c:v>3.5950540496090033E-2</c:v>
                </c:pt>
                <c:pt idx="27">
                  <c:v>4.8401537012394913E-2</c:v>
                </c:pt>
                <c:pt idx="28">
                  <c:v>5.7478282971756833E-2</c:v>
                </c:pt>
                <c:pt idx="29">
                  <c:v>5.4944305727912868E-2</c:v>
                </c:pt>
                <c:pt idx="30">
                  <c:v>6.2089320156093475E-2</c:v>
                </c:pt>
                <c:pt idx="31">
                  <c:v>6.7892289520505855E-2</c:v>
                </c:pt>
                <c:pt idx="32">
                  <c:v>6.0173138166649265E-2</c:v>
                </c:pt>
                <c:pt idx="33">
                  <c:v>4.8082771406784852E-2</c:v>
                </c:pt>
                <c:pt idx="34">
                  <c:v>4.3653544248912102E-2</c:v>
                </c:pt>
                <c:pt idx="35">
                  <c:v>5.1159188433533176E-2</c:v>
                </c:pt>
                <c:pt idx="36">
                  <c:v>5.615178744972571E-2</c:v>
                </c:pt>
                <c:pt idx="37">
                  <c:v>5.9695886847180857E-2</c:v>
                </c:pt>
                <c:pt idx="38">
                  <c:v>4.7844743806348289E-2</c:v>
                </c:pt>
                <c:pt idx="39">
                  <c:v>4.5191752762286264E-2</c:v>
                </c:pt>
                <c:pt idx="40">
                  <c:v>2.335182333328345E-2</c:v>
                </c:pt>
                <c:pt idx="41">
                  <c:v>3.8538343076716108E-2</c:v>
                </c:pt>
                <c:pt idx="42">
                  <c:v>4.3446017672652326E-2</c:v>
                </c:pt>
                <c:pt idx="43">
                  <c:v>5.3020348967600217E-2</c:v>
                </c:pt>
                <c:pt idx="44">
                  <c:v>4.4434011632253467E-2</c:v>
                </c:pt>
                <c:pt idx="45">
                  <c:v>4.887759221326804E-2</c:v>
                </c:pt>
                <c:pt idx="46">
                  <c:v>4.2858723442429358E-2</c:v>
                </c:pt>
                <c:pt idx="47">
                  <c:v>3.8174124964490241E-2</c:v>
                </c:pt>
                <c:pt idx="48">
                  <c:v>3.2872329291449232E-2</c:v>
                </c:pt>
                <c:pt idx="49">
                  <c:v>4.0584303933735022E-2</c:v>
                </c:pt>
                <c:pt idx="50">
                  <c:v>3.3877068911382535E-2</c:v>
                </c:pt>
                <c:pt idx="51">
                  <c:v>3.4777148154239601E-2</c:v>
                </c:pt>
                <c:pt idx="52">
                  <c:v>3.6436762705022163E-2</c:v>
                </c:pt>
                <c:pt idx="53">
                  <c:v>3.4161147077732767E-2</c:v>
                </c:pt>
                <c:pt idx="54">
                  <c:v>4.023683148184154E-2</c:v>
                </c:pt>
                <c:pt idx="55">
                  <c:v>4.3347337888551607E-2</c:v>
                </c:pt>
                <c:pt idx="56">
                  <c:v>4.2914342957104168E-2</c:v>
                </c:pt>
                <c:pt idx="57">
                  <c:v>4.6881270277947973E-2</c:v>
                </c:pt>
                <c:pt idx="58">
                  <c:v>5.079736255849765E-2</c:v>
                </c:pt>
                <c:pt idx="59">
                  <c:v>4.7384238147212265E-2</c:v>
                </c:pt>
                <c:pt idx="60">
                  <c:v>5.0719016790514937E-2</c:v>
                </c:pt>
                <c:pt idx="61">
                  <c:v>5.0305159756589779E-2</c:v>
                </c:pt>
                <c:pt idx="62">
                  <c:v>3.6443341357295544E-2</c:v>
                </c:pt>
                <c:pt idx="63">
                  <c:v>9.7806617526128292E-3</c:v>
                </c:pt>
                <c:pt idx="64">
                  <c:v>-1.4217065622056491E-2</c:v>
                </c:pt>
                <c:pt idx="65">
                  <c:v>1.995305234514011E-2</c:v>
                </c:pt>
                <c:pt idx="66">
                  <c:v>-1.0476802774995186E-2</c:v>
                </c:pt>
                <c:pt idx="67">
                  <c:v>1.4684149933465784E-2</c:v>
                </c:pt>
                <c:pt idx="68">
                  <c:v>1.9446496120090195E-2</c:v>
                </c:pt>
                <c:pt idx="69">
                  <c:v>2.0155196387721785E-2</c:v>
                </c:pt>
                <c:pt idx="70">
                  <c:v>2.2969065382832721E-2</c:v>
                </c:pt>
                <c:pt idx="71">
                  <c:v>2.0323849109639358E-2</c:v>
                </c:pt>
                <c:pt idx="72">
                  <c:v>2.099786193801112E-2</c:v>
                </c:pt>
                <c:pt idx="73">
                  <c:v>2.6692582569561862E-2</c:v>
                </c:pt>
                <c:pt idx="74">
                  <c:v>3.647743073725751E-2</c:v>
                </c:pt>
                <c:pt idx="75">
                  <c:v>3.9114274180285014E-2</c:v>
                </c:pt>
                <c:pt idx="76">
                  <c:v>4.2522614117189717E-2</c:v>
                </c:pt>
                <c:pt idx="77">
                  <c:v>4.1202099188134556E-2</c:v>
                </c:pt>
                <c:pt idx="78">
                  <c:v>4.275705336184088E-2</c:v>
                </c:pt>
                <c:pt idx="79">
                  <c:v>2.608674850111381E-2</c:v>
                </c:pt>
                <c:pt idx="80">
                  <c:v>2.50419389082428E-2</c:v>
                </c:pt>
                <c:pt idx="81">
                  <c:v>-4.5087690444507444E-3</c:v>
                </c:pt>
                <c:pt idx="82">
                  <c:v>-9.0037827250571967E-3</c:v>
                </c:pt>
                <c:pt idx="83">
                  <c:v>-5.9201889867381841E-3</c:v>
                </c:pt>
                <c:pt idx="84">
                  <c:v>-2.3685540421332862E-2</c:v>
                </c:pt>
                <c:pt idx="85">
                  <c:v>-1.4184172360689473E-2</c:v>
                </c:pt>
                <c:pt idx="86">
                  <c:v>-1.5682908960423347E-2</c:v>
                </c:pt>
                <c:pt idx="87">
                  <c:v>-9.6000478447438864E-3</c:v>
                </c:pt>
                <c:pt idx="88">
                  <c:v>-1.2785311663651378E-2</c:v>
                </c:pt>
                <c:pt idx="89">
                  <c:v>-2.8132111298835194E-2</c:v>
                </c:pt>
                <c:pt idx="90">
                  <c:v>2.3910410717222774E-3</c:v>
                </c:pt>
                <c:pt idx="91">
                  <c:v>4.3329994168921804E-2</c:v>
                </c:pt>
                <c:pt idx="92">
                  <c:v>3.7405618767100801E-2</c:v>
                </c:pt>
                <c:pt idx="93">
                  <c:v>3.0726492531734539E-2</c:v>
                </c:pt>
                <c:pt idx="94">
                  <c:v>5.0071318571236256E-2</c:v>
                </c:pt>
                <c:pt idx="95">
                  <c:v>4.642674521178769E-2</c:v>
                </c:pt>
                <c:pt idx="96">
                  <c:v>6.0738304202861748E-2</c:v>
                </c:pt>
                <c:pt idx="97">
                  <c:v>6.6510174483799922E-2</c:v>
                </c:pt>
                <c:pt idx="98">
                  <c:v>7.2489571340998538E-2</c:v>
                </c:pt>
                <c:pt idx="99">
                  <c:v>7.7992314938026164E-2</c:v>
                </c:pt>
                <c:pt idx="100">
                  <c:v>9.4755917049175409E-2</c:v>
                </c:pt>
                <c:pt idx="101">
                  <c:v>0.10866019765859791</c:v>
                </c:pt>
                <c:pt idx="102">
                  <c:v>0.10771526396842268</c:v>
                </c:pt>
                <c:pt idx="103">
                  <c:v>0.11155719689607224</c:v>
                </c:pt>
                <c:pt idx="104">
                  <c:v>0.1251080244606253</c:v>
                </c:pt>
                <c:pt idx="105">
                  <c:v>0.12553743103628734</c:v>
                </c:pt>
                <c:pt idx="106">
                  <c:v>0.11262891915733464</c:v>
                </c:pt>
                <c:pt idx="107">
                  <c:v>0.10689412855284597</c:v>
                </c:pt>
                <c:pt idx="108">
                  <c:v>0.10562684090127528</c:v>
                </c:pt>
                <c:pt idx="109">
                  <c:v>9.9799351105662293E-2</c:v>
                </c:pt>
                <c:pt idx="110">
                  <c:v>0.11016431679200989</c:v>
                </c:pt>
                <c:pt idx="111">
                  <c:v>0.11867948507094472</c:v>
                </c:pt>
                <c:pt idx="112">
                  <c:v>0.11807604323968723</c:v>
                </c:pt>
                <c:pt idx="113">
                  <c:v>0.11544398427104063</c:v>
                </c:pt>
                <c:pt idx="114">
                  <c:v>0.12586815782784866</c:v>
                </c:pt>
                <c:pt idx="115">
                  <c:v>0.1125368180255073</c:v>
                </c:pt>
                <c:pt idx="116">
                  <c:v>0.11291598762017263</c:v>
                </c:pt>
                <c:pt idx="117">
                  <c:v>0.10698144521029262</c:v>
                </c:pt>
                <c:pt idx="118">
                  <c:v>0.10518726731755468</c:v>
                </c:pt>
                <c:pt idx="119">
                  <c:v>0.11416772573000622</c:v>
                </c:pt>
                <c:pt idx="120">
                  <c:v>0.1204981833948835</c:v>
                </c:pt>
                <c:pt idx="121">
                  <c:v>0.12690160429406583</c:v>
                </c:pt>
                <c:pt idx="122">
                  <c:v>0.10810938504552725</c:v>
                </c:pt>
                <c:pt idx="123">
                  <c:v>0.11614490976780334</c:v>
                </c:pt>
                <c:pt idx="124">
                  <c:v>0.11323056681069921</c:v>
                </c:pt>
                <c:pt idx="125">
                  <c:v>0.11423112001554947</c:v>
                </c:pt>
                <c:pt idx="126">
                  <c:v>0.11720706308030437</c:v>
                </c:pt>
                <c:pt idx="127">
                  <c:v>0.1216219368150353</c:v>
                </c:pt>
                <c:pt idx="128">
                  <c:v>0.12976212191438785</c:v>
                </c:pt>
                <c:pt idx="129">
                  <c:v>0.12782321367163552</c:v>
                </c:pt>
                <c:pt idx="130">
                  <c:v>0.13975270248045102</c:v>
                </c:pt>
                <c:pt idx="131">
                  <c:v>0.14767220369899658</c:v>
                </c:pt>
                <c:pt idx="132">
                  <c:v>0.16006578652273373</c:v>
                </c:pt>
                <c:pt idx="133">
                  <c:v>0.17739575078869052</c:v>
                </c:pt>
                <c:pt idx="134">
                  <c:v>0.18227591465693838</c:v>
                </c:pt>
                <c:pt idx="135">
                  <c:v>0.17841065741668283</c:v>
                </c:pt>
                <c:pt idx="136">
                  <c:v>0.17593528998400187</c:v>
                </c:pt>
                <c:pt idx="137">
                  <c:v>0.18023653245219262</c:v>
                </c:pt>
                <c:pt idx="138">
                  <c:v>0.1836095868905403</c:v>
                </c:pt>
                <c:pt idx="139">
                  <c:v>0.19062721468833632</c:v>
                </c:pt>
                <c:pt idx="140">
                  <c:v>0.19575796540226964</c:v>
                </c:pt>
                <c:pt idx="141">
                  <c:v>0.19585784130496542</c:v>
                </c:pt>
                <c:pt idx="142">
                  <c:v>0.19754317240554409</c:v>
                </c:pt>
                <c:pt idx="143">
                  <c:v>0.2074446421362679</c:v>
                </c:pt>
                <c:pt idx="144">
                  <c:v>0.20428868322294158</c:v>
                </c:pt>
                <c:pt idx="145">
                  <c:v>0.20584901993032623</c:v>
                </c:pt>
                <c:pt idx="146">
                  <c:v>0.21612009030695378</c:v>
                </c:pt>
                <c:pt idx="147">
                  <c:v>0.22549885621159338</c:v>
                </c:pt>
                <c:pt idx="148">
                  <c:v>0.24485444731845174</c:v>
                </c:pt>
                <c:pt idx="149">
                  <c:v>0.24859171986902506</c:v>
                </c:pt>
                <c:pt idx="150">
                  <c:v>0.25145582584513249</c:v>
                </c:pt>
                <c:pt idx="151">
                  <c:v>0.24552965626541856</c:v>
                </c:pt>
                <c:pt idx="152">
                  <c:v>0.26650957642450268</c:v>
                </c:pt>
                <c:pt idx="153">
                  <c:v>0.25737780900976337</c:v>
                </c:pt>
                <c:pt idx="154">
                  <c:v>0.24030740247895577</c:v>
                </c:pt>
                <c:pt idx="155">
                  <c:v>0.23302902082741483</c:v>
                </c:pt>
                <c:pt idx="156">
                  <c:v>0.24359971891212995</c:v>
                </c:pt>
                <c:pt idx="157">
                  <c:v>0.24029544129300406</c:v>
                </c:pt>
                <c:pt idx="158">
                  <c:v>0.23735657790469911</c:v>
                </c:pt>
                <c:pt idx="159">
                  <c:v>0.24462718478537138</c:v>
                </c:pt>
                <c:pt idx="160">
                  <c:v>0.2338094882107562</c:v>
                </c:pt>
                <c:pt idx="161">
                  <c:v>0.23492905521582452</c:v>
                </c:pt>
                <c:pt idx="162">
                  <c:v>0.22956266913864498</c:v>
                </c:pt>
                <c:pt idx="163">
                  <c:v>0.2294328902710705</c:v>
                </c:pt>
                <c:pt idx="164">
                  <c:v>0.2162187700910545</c:v>
                </c:pt>
                <c:pt idx="165">
                  <c:v>0.21297071004590107</c:v>
                </c:pt>
                <c:pt idx="166">
                  <c:v>0.23290342837492339</c:v>
                </c:pt>
                <c:pt idx="167">
                  <c:v>0.22513822645515291</c:v>
                </c:pt>
                <c:pt idx="168">
                  <c:v>0.24222478058699526</c:v>
                </c:pt>
                <c:pt idx="169">
                  <c:v>0.23768551051836773</c:v>
                </c:pt>
                <c:pt idx="170">
                  <c:v>0.23033117533603464</c:v>
                </c:pt>
                <c:pt idx="171">
                  <c:v>0.23378317360166245</c:v>
                </c:pt>
                <c:pt idx="172">
                  <c:v>0.2351114633015865</c:v>
                </c:pt>
                <c:pt idx="173">
                  <c:v>0.24584004904086254</c:v>
                </c:pt>
                <c:pt idx="174">
                  <c:v>0.24349386241645865</c:v>
                </c:pt>
                <c:pt idx="175">
                  <c:v>0.23770524647518809</c:v>
                </c:pt>
                <c:pt idx="176">
                  <c:v>0.24810729183798585</c:v>
                </c:pt>
                <c:pt idx="177">
                  <c:v>0.25004560202144055</c:v>
                </c:pt>
                <c:pt idx="178">
                  <c:v>0.23489317165796986</c:v>
                </c:pt>
                <c:pt idx="179">
                  <c:v>0.24272356204117651</c:v>
                </c:pt>
                <c:pt idx="180">
                  <c:v>0.23466590912488972</c:v>
                </c:pt>
                <c:pt idx="181">
                  <c:v>0.24185637605968635</c:v>
                </c:pt>
                <c:pt idx="182">
                  <c:v>0.25936994453000017</c:v>
                </c:pt>
                <c:pt idx="183">
                  <c:v>0.26262757352391497</c:v>
                </c:pt>
                <c:pt idx="184">
                  <c:v>0.27295067505943216</c:v>
                </c:pt>
                <c:pt idx="185">
                  <c:v>0.2760833096601527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Stock 2025'!$H$1</c:f>
              <c:strCache>
                <c:ptCount val="1"/>
                <c:pt idx="0">
                  <c:v>BET-NG%</c:v>
                </c:pt>
              </c:strCache>
            </c:strRef>
          </c:tx>
          <c:spPr>
            <a:ln>
              <a:solidFill>
                <a:schemeClr val="accent1">
                  <a:lumMod val="40000"/>
                  <a:lumOff val="60000"/>
                </a:schemeClr>
              </a:solidFill>
            </a:ln>
          </c:spPr>
          <c:marker>
            <c:symbol val="none"/>
          </c:marker>
          <c:cat>
            <c:strRef>
              <c:f>'Stock 2025'!$A$2:$A$188</c:f>
              <c:strCache>
                <c:ptCount val="186"/>
                <c:pt idx="0">
                  <c:v>30.12.2024</c:v>
                </c:pt>
                <c:pt idx="1">
                  <c:v>03.01.2025</c:v>
                </c:pt>
                <c:pt idx="2">
                  <c:v>08.01.2025</c:v>
                </c:pt>
                <c:pt idx="3">
                  <c:v>09.01.2025</c:v>
                </c:pt>
                <c:pt idx="4">
                  <c:v>10.01.2025</c:v>
                </c:pt>
                <c:pt idx="5">
                  <c:v>13.01.2025</c:v>
                </c:pt>
                <c:pt idx="6">
                  <c:v>14.01.2025</c:v>
                </c:pt>
                <c:pt idx="7">
                  <c:v>15.01.2025</c:v>
                </c:pt>
                <c:pt idx="8">
                  <c:v>16.01.2025</c:v>
                </c:pt>
                <c:pt idx="9">
                  <c:v>17.01.2025</c:v>
                </c:pt>
                <c:pt idx="10">
                  <c:v>20.01.2025</c:v>
                </c:pt>
                <c:pt idx="11">
                  <c:v>21.01.2025</c:v>
                </c:pt>
                <c:pt idx="12">
                  <c:v>22.01.2025</c:v>
                </c:pt>
                <c:pt idx="13">
                  <c:v>23.01.2025</c:v>
                </c:pt>
                <c:pt idx="14">
                  <c:v>27.01.2025</c:v>
                </c:pt>
                <c:pt idx="15">
                  <c:v>28.01.2025</c:v>
                </c:pt>
                <c:pt idx="16">
                  <c:v>29.01.2025</c:v>
                </c:pt>
                <c:pt idx="17">
                  <c:v>30.01.2025</c:v>
                </c:pt>
                <c:pt idx="18">
                  <c:v>31.01.2025</c:v>
                </c:pt>
                <c:pt idx="19">
                  <c:v>03.02.2025</c:v>
                </c:pt>
                <c:pt idx="20">
                  <c:v>04.02.2025</c:v>
                </c:pt>
                <c:pt idx="21">
                  <c:v>05.02.2025</c:v>
                </c:pt>
                <c:pt idx="22">
                  <c:v>06.02.2025</c:v>
                </c:pt>
                <c:pt idx="23">
                  <c:v>07.02.2025</c:v>
                </c:pt>
                <c:pt idx="24">
                  <c:v>10.02.2025</c:v>
                </c:pt>
                <c:pt idx="25">
                  <c:v>11.02.2025</c:v>
                </c:pt>
                <c:pt idx="26">
                  <c:v>12.02.2025</c:v>
                </c:pt>
                <c:pt idx="27">
                  <c:v>13.02.2025</c:v>
                </c:pt>
                <c:pt idx="28">
                  <c:v>14.02.2025</c:v>
                </c:pt>
                <c:pt idx="29">
                  <c:v>17.02.2025</c:v>
                </c:pt>
                <c:pt idx="30">
                  <c:v>18.02.2025</c:v>
                </c:pt>
                <c:pt idx="31">
                  <c:v>19.02.2025</c:v>
                </c:pt>
                <c:pt idx="32">
                  <c:v>20.02.2025</c:v>
                </c:pt>
                <c:pt idx="33">
                  <c:v>21.02.2025</c:v>
                </c:pt>
                <c:pt idx="34">
                  <c:v>24.02.2025</c:v>
                </c:pt>
                <c:pt idx="35">
                  <c:v>25.02.2025</c:v>
                </c:pt>
                <c:pt idx="36">
                  <c:v>26.02.2025</c:v>
                </c:pt>
                <c:pt idx="37">
                  <c:v>27.02.2025</c:v>
                </c:pt>
                <c:pt idx="38">
                  <c:v>28.02.2025</c:v>
                </c:pt>
                <c:pt idx="39">
                  <c:v>03.03.2025</c:v>
                </c:pt>
                <c:pt idx="40">
                  <c:v>04.03.2025</c:v>
                </c:pt>
                <c:pt idx="41">
                  <c:v>05.03.2025</c:v>
                </c:pt>
                <c:pt idx="42">
                  <c:v>06.03.2025</c:v>
                </c:pt>
                <c:pt idx="43">
                  <c:v>07.03.2025</c:v>
                </c:pt>
                <c:pt idx="44">
                  <c:v>10.03.2025</c:v>
                </c:pt>
                <c:pt idx="45">
                  <c:v>11.03.2025</c:v>
                </c:pt>
                <c:pt idx="46">
                  <c:v>12.03.2025</c:v>
                </c:pt>
                <c:pt idx="47">
                  <c:v>13.03.2025</c:v>
                </c:pt>
                <c:pt idx="48">
                  <c:v>14.03.2025</c:v>
                </c:pt>
                <c:pt idx="49">
                  <c:v>17.03.2025</c:v>
                </c:pt>
                <c:pt idx="50">
                  <c:v>18.03.2025</c:v>
                </c:pt>
                <c:pt idx="51">
                  <c:v>19.03.2025</c:v>
                </c:pt>
                <c:pt idx="52">
                  <c:v>20.03.2025</c:v>
                </c:pt>
                <c:pt idx="53">
                  <c:v>21.03.2025</c:v>
                </c:pt>
                <c:pt idx="54">
                  <c:v>24.03.2025</c:v>
                </c:pt>
                <c:pt idx="55">
                  <c:v>25.03.2025</c:v>
                </c:pt>
                <c:pt idx="56">
                  <c:v>26.03.2025</c:v>
                </c:pt>
                <c:pt idx="57">
                  <c:v>27.03.2025</c:v>
                </c:pt>
                <c:pt idx="58">
                  <c:v>28.03.2025</c:v>
                </c:pt>
                <c:pt idx="59">
                  <c:v>31.03.2025</c:v>
                </c:pt>
                <c:pt idx="60">
                  <c:v>01.04.2025</c:v>
                </c:pt>
                <c:pt idx="61">
                  <c:v>02.04.2025</c:v>
                </c:pt>
                <c:pt idx="62">
                  <c:v>03.04.2025</c:v>
                </c:pt>
                <c:pt idx="63">
                  <c:v>04.04.2025</c:v>
                </c:pt>
                <c:pt idx="64">
                  <c:v>07.04.2025</c:v>
                </c:pt>
                <c:pt idx="65">
                  <c:v>08.04.2025</c:v>
                </c:pt>
                <c:pt idx="66">
                  <c:v>09.04.2025</c:v>
                </c:pt>
                <c:pt idx="67">
                  <c:v>10.04.2025</c:v>
                </c:pt>
                <c:pt idx="68">
                  <c:v>11.04.2025</c:v>
                </c:pt>
                <c:pt idx="69">
                  <c:v>14.04.2025</c:v>
                </c:pt>
                <c:pt idx="70">
                  <c:v>15.04.2025</c:v>
                </c:pt>
                <c:pt idx="71">
                  <c:v>16.04.2025</c:v>
                </c:pt>
                <c:pt idx="72">
                  <c:v>17.04.2025</c:v>
                </c:pt>
                <c:pt idx="73">
                  <c:v>22.04.2025</c:v>
                </c:pt>
                <c:pt idx="74">
                  <c:v>23.04.2025</c:v>
                </c:pt>
                <c:pt idx="75">
                  <c:v>24.04.2025</c:v>
                </c:pt>
                <c:pt idx="76">
                  <c:v>25.04.2025</c:v>
                </c:pt>
                <c:pt idx="77">
                  <c:v>28.04.2025</c:v>
                </c:pt>
                <c:pt idx="78">
                  <c:v>29.04.2025</c:v>
                </c:pt>
                <c:pt idx="79">
                  <c:v>30.04.2025</c:v>
                </c:pt>
                <c:pt idx="80">
                  <c:v>02.05.2025</c:v>
                </c:pt>
                <c:pt idx="81">
                  <c:v>05.05.2025</c:v>
                </c:pt>
                <c:pt idx="82">
                  <c:v>06.05.2025</c:v>
                </c:pt>
                <c:pt idx="83">
                  <c:v>07.05.2025</c:v>
                </c:pt>
                <c:pt idx="84">
                  <c:v>08.05.2025</c:v>
                </c:pt>
                <c:pt idx="85">
                  <c:v>09.05.2025</c:v>
                </c:pt>
                <c:pt idx="86">
                  <c:v>12.05.2025</c:v>
                </c:pt>
                <c:pt idx="87">
                  <c:v>13.05.2025</c:v>
                </c:pt>
                <c:pt idx="88">
                  <c:v>14.05.2025</c:v>
                </c:pt>
                <c:pt idx="89">
                  <c:v>15.05.2025</c:v>
                </c:pt>
                <c:pt idx="90">
                  <c:v>16.05.2025</c:v>
                </c:pt>
                <c:pt idx="91">
                  <c:v>19.05.2025</c:v>
                </c:pt>
                <c:pt idx="92">
                  <c:v>20.05.2025</c:v>
                </c:pt>
                <c:pt idx="93">
                  <c:v>21.05.2025</c:v>
                </c:pt>
                <c:pt idx="94">
                  <c:v>22.05.2025</c:v>
                </c:pt>
                <c:pt idx="95">
                  <c:v>23.05.2025</c:v>
                </c:pt>
                <c:pt idx="96">
                  <c:v>26.05.2025</c:v>
                </c:pt>
                <c:pt idx="97">
                  <c:v>27.05.2025</c:v>
                </c:pt>
                <c:pt idx="98">
                  <c:v>28.05.2025</c:v>
                </c:pt>
                <c:pt idx="99">
                  <c:v>29.05.2025</c:v>
                </c:pt>
                <c:pt idx="100">
                  <c:v>30.05.2025</c:v>
                </c:pt>
                <c:pt idx="101">
                  <c:v>02.06.2025</c:v>
                </c:pt>
                <c:pt idx="102">
                  <c:v>03.06.2025</c:v>
                </c:pt>
                <c:pt idx="103">
                  <c:v>04.06.2025</c:v>
                </c:pt>
                <c:pt idx="104">
                  <c:v>05.06.2025</c:v>
                </c:pt>
                <c:pt idx="105">
                  <c:v>06.06.2025</c:v>
                </c:pt>
                <c:pt idx="106">
                  <c:v>10.06.2025</c:v>
                </c:pt>
                <c:pt idx="107">
                  <c:v>11.06.2025</c:v>
                </c:pt>
                <c:pt idx="108">
                  <c:v>12.06.2025</c:v>
                </c:pt>
                <c:pt idx="109">
                  <c:v>13.06.2025</c:v>
                </c:pt>
                <c:pt idx="110">
                  <c:v>16.06.2025</c:v>
                </c:pt>
                <c:pt idx="111">
                  <c:v>17.06.2025</c:v>
                </c:pt>
                <c:pt idx="112">
                  <c:v>18.06.2025</c:v>
                </c:pt>
                <c:pt idx="113">
                  <c:v>19.06.2025</c:v>
                </c:pt>
                <c:pt idx="114">
                  <c:v>20.06.2025</c:v>
                </c:pt>
                <c:pt idx="115">
                  <c:v>23.06.2025</c:v>
                </c:pt>
                <c:pt idx="116">
                  <c:v>24.06.2025</c:v>
                </c:pt>
                <c:pt idx="117">
                  <c:v>25.06.2025</c:v>
                </c:pt>
                <c:pt idx="118">
                  <c:v>26.06.2025</c:v>
                </c:pt>
                <c:pt idx="119">
                  <c:v>27.06.2025</c:v>
                </c:pt>
                <c:pt idx="120">
                  <c:v>30.06.2025</c:v>
                </c:pt>
                <c:pt idx="121">
                  <c:v>01.07.2025</c:v>
                </c:pt>
                <c:pt idx="122">
                  <c:v>02.07.2025</c:v>
                </c:pt>
                <c:pt idx="123">
                  <c:v>03.07.2025</c:v>
                </c:pt>
                <c:pt idx="124">
                  <c:v>04.07.2025</c:v>
                </c:pt>
                <c:pt idx="125">
                  <c:v>07.07.2025</c:v>
                </c:pt>
                <c:pt idx="126">
                  <c:v>08.07.2025</c:v>
                </c:pt>
                <c:pt idx="127">
                  <c:v>09.07.2025</c:v>
                </c:pt>
                <c:pt idx="128">
                  <c:v>10.07.2025</c:v>
                </c:pt>
                <c:pt idx="129">
                  <c:v>11.07.2025</c:v>
                </c:pt>
                <c:pt idx="130">
                  <c:v>14.07.2025</c:v>
                </c:pt>
                <c:pt idx="131">
                  <c:v>15.07.2025</c:v>
                </c:pt>
                <c:pt idx="132">
                  <c:v>16.07.2025</c:v>
                </c:pt>
                <c:pt idx="133">
                  <c:v>17.07.2025</c:v>
                </c:pt>
                <c:pt idx="134">
                  <c:v>18.07.2025</c:v>
                </c:pt>
                <c:pt idx="135">
                  <c:v>21.07.2025</c:v>
                </c:pt>
                <c:pt idx="136">
                  <c:v>22.07.2025</c:v>
                </c:pt>
                <c:pt idx="137">
                  <c:v>23.07.2025</c:v>
                </c:pt>
                <c:pt idx="138">
                  <c:v>24.07.2025</c:v>
                </c:pt>
                <c:pt idx="139">
                  <c:v>25.07.2025</c:v>
                </c:pt>
                <c:pt idx="140">
                  <c:v>28.07.2025</c:v>
                </c:pt>
                <c:pt idx="141">
                  <c:v>29.07.2025</c:v>
                </c:pt>
                <c:pt idx="142">
                  <c:v>30.07.2025</c:v>
                </c:pt>
                <c:pt idx="143">
                  <c:v>31.07.2025</c:v>
                </c:pt>
                <c:pt idx="144">
                  <c:v>01.08.2025</c:v>
                </c:pt>
                <c:pt idx="145">
                  <c:v>04.08.2025</c:v>
                </c:pt>
                <c:pt idx="146">
                  <c:v>05.08.2025</c:v>
                </c:pt>
                <c:pt idx="147">
                  <c:v>06.08.2025</c:v>
                </c:pt>
                <c:pt idx="148">
                  <c:v>07.08.2025</c:v>
                </c:pt>
                <c:pt idx="149">
                  <c:v>08.08.2025</c:v>
                </c:pt>
                <c:pt idx="150">
                  <c:v>11.08.2025</c:v>
                </c:pt>
                <c:pt idx="151">
                  <c:v>12.08.2025</c:v>
                </c:pt>
                <c:pt idx="152">
                  <c:v>13.08.2025</c:v>
                </c:pt>
                <c:pt idx="153">
                  <c:v>14.08.2025</c:v>
                </c:pt>
                <c:pt idx="154">
                  <c:v>18.08.2025</c:v>
                </c:pt>
                <c:pt idx="155">
                  <c:v>19.08.2025</c:v>
                </c:pt>
                <c:pt idx="156">
                  <c:v>20.08.2025</c:v>
                </c:pt>
                <c:pt idx="157">
                  <c:v>21.08.2025</c:v>
                </c:pt>
                <c:pt idx="158">
                  <c:v>22.08.2025</c:v>
                </c:pt>
                <c:pt idx="159">
                  <c:v>25.08.2025</c:v>
                </c:pt>
                <c:pt idx="160">
                  <c:v>26.08.2025</c:v>
                </c:pt>
                <c:pt idx="161">
                  <c:v>27.08.2025</c:v>
                </c:pt>
                <c:pt idx="162">
                  <c:v>28.08.2025</c:v>
                </c:pt>
                <c:pt idx="163">
                  <c:v>29.08.2025</c:v>
                </c:pt>
                <c:pt idx="164">
                  <c:v>01.09.2025</c:v>
                </c:pt>
                <c:pt idx="165">
                  <c:v>02.09.2025</c:v>
                </c:pt>
                <c:pt idx="166">
                  <c:v>03.09.2025</c:v>
                </c:pt>
                <c:pt idx="167">
                  <c:v>04.09.2025</c:v>
                </c:pt>
                <c:pt idx="168">
                  <c:v>05.09.2025</c:v>
                </c:pt>
                <c:pt idx="169">
                  <c:v>08.09.2025</c:v>
                </c:pt>
                <c:pt idx="170">
                  <c:v>09.09.2025</c:v>
                </c:pt>
                <c:pt idx="171">
                  <c:v>10.09.2025</c:v>
                </c:pt>
                <c:pt idx="172">
                  <c:v>11.09.2025</c:v>
                </c:pt>
                <c:pt idx="173">
                  <c:v>12.09.2025</c:v>
                </c:pt>
                <c:pt idx="174">
                  <c:v>15.09.2025</c:v>
                </c:pt>
                <c:pt idx="175">
                  <c:v>16.09.2025</c:v>
                </c:pt>
                <c:pt idx="176">
                  <c:v>17.09.2025</c:v>
                </c:pt>
                <c:pt idx="177">
                  <c:v>18.09.2025</c:v>
                </c:pt>
                <c:pt idx="178">
                  <c:v>19.09.2025</c:v>
                </c:pt>
                <c:pt idx="179">
                  <c:v>22.09.2025</c:v>
                </c:pt>
                <c:pt idx="180">
                  <c:v>23.09.2025</c:v>
                </c:pt>
                <c:pt idx="181">
                  <c:v>24.09.2025</c:v>
                </c:pt>
                <c:pt idx="182">
                  <c:v>25.09.2025</c:v>
                </c:pt>
                <c:pt idx="183">
                  <c:v>26.09.2025</c:v>
                </c:pt>
                <c:pt idx="184">
                  <c:v>29.09.2025</c:v>
                </c:pt>
                <c:pt idx="185">
                  <c:v>30.09.2025</c:v>
                </c:pt>
              </c:strCache>
            </c:strRef>
          </c:cat>
          <c:val>
            <c:numRef>
              <c:f>'Stock 2025'!$H$2:$H$188</c:f>
              <c:numCache>
                <c:formatCode>0.00%</c:formatCode>
                <c:ptCount val="186"/>
                <c:pt idx="0">
                  <c:v>0</c:v>
                </c:pt>
                <c:pt idx="1">
                  <c:v>1.6246465893263728E-2</c:v>
                </c:pt>
                <c:pt idx="2">
                  <c:v>2.4553180487560722E-2</c:v>
                </c:pt>
                <c:pt idx="3">
                  <c:v>2.4719981985438233E-2</c:v>
                </c:pt>
                <c:pt idx="4">
                  <c:v>2.5237066628858384E-2</c:v>
                </c:pt>
                <c:pt idx="5">
                  <c:v>1.8948650158878477E-2</c:v>
                </c:pt>
                <c:pt idx="6">
                  <c:v>2.7280384977857119E-2</c:v>
                </c:pt>
                <c:pt idx="7">
                  <c:v>2.1792615697689088E-2</c:v>
                </c:pt>
                <c:pt idx="8">
                  <c:v>2.4611561011817829E-2</c:v>
                </c:pt>
                <c:pt idx="9">
                  <c:v>2.3343869627949321E-2</c:v>
                </c:pt>
                <c:pt idx="10">
                  <c:v>2.2409781239835613E-2</c:v>
                </c:pt>
                <c:pt idx="11">
                  <c:v>2.2559902587925285E-2</c:v>
                </c:pt>
                <c:pt idx="12">
                  <c:v>2.7880870370216027E-2</c:v>
                </c:pt>
                <c:pt idx="13">
                  <c:v>2.7538927299567195E-2</c:v>
                </c:pt>
                <c:pt idx="14">
                  <c:v>2.0625005212546732E-2</c:v>
                </c:pt>
                <c:pt idx="15">
                  <c:v>2.5729131047596887E-2</c:v>
                </c:pt>
                <c:pt idx="16">
                  <c:v>2.4895123558209775E-2</c:v>
                </c:pt>
                <c:pt idx="17">
                  <c:v>2.4536500337773104E-2</c:v>
                </c:pt>
                <c:pt idx="18">
                  <c:v>2.4911803707997393E-2</c:v>
                </c:pt>
                <c:pt idx="19">
                  <c:v>2.3293829178586023E-2</c:v>
                </c:pt>
                <c:pt idx="20">
                  <c:v>2.4469779738621966E-2</c:v>
                </c:pt>
                <c:pt idx="21">
                  <c:v>3.4377788712542712E-2</c:v>
                </c:pt>
                <c:pt idx="22">
                  <c:v>3.9948958741649498E-2</c:v>
                </c:pt>
                <c:pt idx="23">
                  <c:v>3.2459571486951999E-2</c:v>
                </c:pt>
                <c:pt idx="24">
                  <c:v>4.013244038931485E-2</c:v>
                </c:pt>
                <c:pt idx="25">
                  <c:v>4.8722717530003568E-2</c:v>
                </c:pt>
                <c:pt idx="26">
                  <c:v>5.6712509278333378E-2</c:v>
                </c:pt>
                <c:pt idx="27">
                  <c:v>6.4068455334728824E-2</c:v>
                </c:pt>
                <c:pt idx="28">
                  <c:v>7.3709581912045685E-2</c:v>
                </c:pt>
                <c:pt idx="29">
                  <c:v>6.9239301768929895E-2</c:v>
                </c:pt>
                <c:pt idx="30">
                  <c:v>7.7963020107920666E-2</c:v>
                </c:pt>
                <c:pt idx="31">
                  <c:v>8.4443258300459512E-2</c:v>
                </c:pt>
                <c:pt idx="32">
                  <c:v>7.8388363927508031E-2</c:v>
                </c:pt>
                <c:pt idx="33">
                  <c:v>6.6920760948433244E-2</c:v>
                </c:pt>
                <c:pt idx="34">
                  <c:v>6.2942545224056179E-2</c:v>
                </c:pt>
                <c:pt idx="35">
                  <c:v>7.0657114500888296E-2</c:v>
                </c:pt>
                <c:pt idx="36">
                  <c:v>6.8013310759530654E-2</c:v>
                </c:pt>
                <c:pt idx="37">
                  <c:v>6.9189261319566597E-2</c:v>
                </c:pt>
                <c:pt idx="38">
                  <c:v>5.9664895790764172E-2</c:v>
                </c:pt>
                <c:pt idx="39">
                  <c:v>5.6654128754076272E-2</c:v>
                </c:pt>
                <c:pt idx="40">
                  <c:v>3.2876575231645555E-2</c:v>
                </c:pt>
                <c:pt idx="41">
                  <c:v>5.1408221645830476E-2</c:v>
                </c:pt>
                <c:pt idx="42">
                  <c:v>5.2133808161597184E-2</c:v>
                </c:pt>
                <c:pt idx="43">
                  <c:v>6.0824166201012497E-2</c:v>
                </c:pt>
                <c:pt idx="44">
                  <c:v>5.2183848610960482E-2</c:v>
                </c:pt>
                <c:pt idx="45">
                  <c:v>6.006521938567011E-2</c:v>
                </c:pt>
                <c:pt idx="46">
                  <c:v>5.1124659099438752E-2</c:v>
                </c:pt>
                <c:pt idx="47">
                  <c:v>4.6420856859294757E-2</c:v>
                </c:pt>
                <c:pt idx="48">
                  <c:v>3.9590335521213049E-2</c:v>
                </c:pt>
                <c:pt idx="49">
                  <c:v>4.4711141506050822E-2</c:v>
                </c:pt>
                <c:pt idx="50">
                  <c:v>3.7163373727095994E-2</c:v>
                </c:pt>
                <c:pt idx="51">
                  <c:v>3.8472765485434213E-2</c:v>
                </c:pt>
                <c:pt idx="52">
                  <c:v>3.9123291327156196E-2</c:v>
                </c:pt>
                <c:pt idx="53">
                  <c:v>4.2492681584280767E-2</c:v>
                </c:pt>
                <c:pt idx="54">
                  <c:v>4.526992652394024E-2</c:v>
                </c:pt>
                <c:pt idx="55">
                  <c:v>4.6754459855049557E-2</c:v>
                </c:pt>
                <c:pt idx="56">
                  <c:v>4.8580936256807483E-2</c:v>
                </c:pt>
                <c:pt idx="57">
                  <c:v>5.3251378197376242E-2</c:v>
                </c:pt>
                <c:pt idx="58">
                  <c:v>6.0749105526967551E-2</c:v>
                </c:pt>
                <c:pt idx="59">
                  <c:v>5.6353886057896707E-2</c:v>
                </c:pt>
                <c:pt idx="60">
                  <c:v>5.7771698789855108E-2</c:v>
                </c:pt>
                <c:pt idx="61">
                  <c:v>5.8705787177969038E-2</c:v>
                </c:pt>
                <c:pt idx="62">
                  <c:v>4.4494299558810235E-2</c:v>
                </c:pt>
                <c:pt idx="63">
                  <c:v>2.0625005212546732E-2</c:v>
                </c:pt>
                <c:pt idx="64">
                  <c:v>5.5044494299560931E-4</c:v>
                </c:pt>
                <c:pt idx="65">
                  <c:v>3.2092608191621519E-2</c:v>
                </c:pt>
                <c:pt idx="66">
                  <c:v>1.5762741549421033E-3</c:v>
                </c:pt>
                <c:pt idx="67">
                  <c:v>2.3610752024553205E-2</c:v>
                </c:pt>
                <c:pt idx="68">
                  <c:v>3.1759005195866497E-2</c:v>
                </c:pt>
                <c:pt idx="69">
                  <c:v>3.1725644896291039E-2</c:v>
                </c:pt>
                <c:pt idx="70">
                  <c:v>3.1767345270760527E-2</c:v>
                </c:pt>
                <c:pt idx="71">
                  <c:v>2.9365403701325343E-2</c:v>
                </c:pt>
                <c:pt idx="72">
                  <c:v>2.9849128045169815E-2</c:v>
                </c:pt>
                <c:pt idx="73">
                  <c:v>3.5787261369607082E-2</c:v>
                </c:pt>
                <c:pt idx="74">
                  <c:v>4.3943854615814404E-2</c:v>
                </c:pt>
                <c:pt idx="75">
                  <c:v>4.5837051616723468E-2</c:v>
                </c:pt>
                <c:pt idx="76">
                  <c:v>5.099121790113692E-2</c:v>
                </c:pt>
                <c:pt idx="77">
                  <c:v>4.9131381199803315E-2</c:v>
                </c:pt>
                <c:pt idx="78">
                  <c:v>5.4018665087612439E-2</c:v>
                </c:pt>
                <c:pt idx="79">
                  <c:v>3.0349532538802348E-2</c:v>
                </c:pt>
                <c:pt idx="80">
                  <c:v>3.2534632160996724E-2</c:v>
                </c:pt>
                <c:pt idx="81">
                  <c:v>4.6204014912054614E-3</c:v>
                </c:pt>
                <c:pt idx="82">
                  <c:v>1.9515775251661704E-3</c:v>
                </c:pt>
                <c:pt idx="83">
                  <c:v>5.5044494299560931E-3</c:v>
                </c:pt>
                <c:pt idx="84">
                  <c:v>-1.1342501855666542E-2</c:v>
                </c:pt>
                <c:pt idx="85">
                  <c:v>-9.1740823832586749E-4</c:v>
                </c:pt>
                <c:pt idx="86">
                  <c:v>-4.4702801431155681E-3</c:v>
                </c:pt>
                <c:pt idx="87">
                  <c:v>6.672059915091566E-5</c:v>
                </c:pt>
                <c:pt idx="88">
                  <c:v>-2.5604029924187754E-3</c:v>
                </c:pt>
                <c:pt idx="89">
                  <c:v>-2.0132940793808229E-2</c:v>
                </c:pt>
                <c:pt idx="90">
                  <c:v>8.4234756428114288E-3</c:v>
                </c:pt>
                <c:pt idx="91">
                  <c:v>4.2617782707688789E-2</c:v>
                </c:pt>
                <c:pt idx="92">
                  <c:v>3.8230903313511755E-2</c:v>
                </c:pt>
                <c:pt idx="93">
                  <c:v>2.9682326547292304E-2</c:v>
                </c:pt>
                <c:pt idx="94">
                  <c:v>5.0090489812598449E-2</c:v>
                </c:pt>
                <c:pt idx="95">
                  <c:v>4.49196433783976E-2</c:v>
                </c:pt>
                <c:pt idx="96">
                  <c:v>6.0490563205257475E-2</c:v>
                </c:pt>
                <c:pt idx="97">
                  <c:v>6.9331042592762682E-2</c:v>
                </c:pt>
                <c:pt idx="98">
                  <c:v>7.9222371416895365E-2</c:v>
                </c:pt>
                <c:pt idx="99">
                  <c:v>8.538568676346725E-2</c:v>
                </c:pt>
                <c:pt idx="100">
                  <c:v>0.10390899310275792</c:v>
                </c:pt>
                <c:pt idx="101">
                  <c:v>0.11053101256849285</c:v>
                </c:pt>
                <c:pt idx="102">
                  <c:v>0.1029665646397504</c:v>
                </c:pt>
                <c:pt idx="103">
                  <c:v>0.10447611819554137</c:v>
                </c:pt>
                <c:pt idx="104">
                  <c:v>0.11305805526133628</c:v>
                </c:pt>
                <c:pt idx="105">
                  <c:v>0.11385036237625412</c:v>
                </c:pt>
                <c:pt idx="106">
                  <c:v>9.9880736929017555E-2</c:v>
                </c:pt>
                <c:pt idx="107">
                  <c:v>9.1198718964496495E-2</c:v>
                </c:pt>
                <c:pt idx="108">
                  <c:v>9.3617340683719297E-2</c:v>
                </c:pt>
                <c:pt idx="109">
                  <c:v>0.10024770022434804</c:v>
                </c:pt>
                <c:pt idx="110">
                  <c:v>0.1082124717479962</c:v>
                </c:pt>
                <c:pt idx="111">
                  <c:v>0.11873764626406347</c:v>
                </c:pt>
                <c:pt idx="112">
                  <c:v>0.12133140955605781</c:v>
                </c:pt>
                <c:pt idx="113">
                  <c:v>0.11736987398146836</c:v>
                </c:pt>
                <c:pt idx="114">
                  <c:v>0.13001342752057932</c:v>
                </c:pt>
                <c:pt idx="115">
                  <c:v>0.11926307098237743</c:v>
                </c:pt>
                <c:pt idx="116">
                  <c:v>0.12206533614671877</c:v>
                </c:pt>
                <c:pt idx="117">
                  <c:v>0.11698623053635027</c:v>
                </c:pt>
                <c:pt idx="118">
                  <c:v>0.11780355787594976</c:v>
                </c:pt>
                <c:pt idx="119">
                  <c:v>0.11936315188110402</c:v>
                </c:pt>
                <c:pt idx="120">
                  <c:v>0.12414201479529297</c:v>
                </c:pt>
                <c:pt idx="121">
                  <c:v>0.12684419906090749</c:v>
                </c:pt>
                <c:pt idx="122">
                  <c:v>0.11433408672009859</c:v>
                </c:pt>
                <c:pt idx="123">
                  <c:v>0.12581002977406741</c:v>
                </c:pt>
                <c:pt idx="124">
                  <c:v>0.12706938108304233</c:v>
                </c:pt>
                <c:pt idx="125">
                  <c:v>0.13294913388322227</c:v>
                </c:pt>
                <c:pt idx="126">
                  <c:v>0.13548451665095951</c:v>
                </c:pt>
                <c:pt idx="127">
                  <c:v>0.13626848369098354</c:v>
                </c:pt>
                <c:pt idx="128">
                  <c:v>0.14135592937624586</c:v>
                </c:pt>
                <c:pt idx="129">
                  <c:v>0.13711917133015872</c:v>
                </c:pt>
                <c:pt idx="130">
                  <c:v>0.14499220202997432</c:v>
                </c:pt>
                <c:pt idx="131">
                  <c:v>0.1479862889168746</c:v>
                </c:pt>
                <c:pt idx="132">
                  <c:v>0.16146384994537266</c:v>
                </c:pt>
                <c:pt idx="133">
                  <c:v>0.17400732258575702</c:v>
                </c:pt>
                <c:pt idx="134">
                  <c:v>0.18323978549327369</c:v>
                </c:pt>
                <c:pt idx="135">
                  <c:v>0.17937833081741061</c:v>
                </c:pt>
                <c:pt idx="136">
                  <c:v>0.17534173456877644</c:v>
                </c:pt>
                <c:pt idx="137">
                  <c:v>0.17797719823524027</c:v>
                </c:pt>
                <c:pt idx="138">
                  <c:v>0.17977031433742274</c:v>
                </c:pt>
                <c:pt idx="139">
                  <c:v>0.19055403117519987</c:v>
                </c:pt>
                <c:pt idx="140">
                  <c:v>0.19661726562304538</c:v>
                </c:pt>
                <c:pt idx="141">
                  <c:v>0.19459896749872807</c:v>
                </c:pt>
                <c:pt idx="142">
                  <c:v>0.19936115026312939</c:v>
                </c:pt>
                <c:pt idx="143">
                  <c:v>0.21200470380224012</c:v>
                </c:pt>
                <c:pt idx="144">
                  <c:v>0.21338915623462307</c:v>
                </c:pt>
                <c:pt idx="145">
                  <c:v>0.21048681017155535</c:v>
                </c:pt>
                <c:pt idx="146">
                  <c:v>0.21931060940927249</c:v>
                </c:pt>
                <c:pt idx="147">
                  <c:v>0.23075319216366563</c:v>
                </c:pt>
                <c:pt idx="148">
                  <c:v>0.25393860036863125</c:v>
                </c:pt>
                <c:pt idx="149">
                  <c:v>0.25621544081465863</c:v>
                </c:pt>
                <c:pt idx="150">
                  <c:v>0.26262061833315276</c:v>
                </c:pt>
                <c:pt idx="151">
                  <c:v>0.25778337489470649</c:v>
                </c:pt>
                <c:pt idx="152">
                  <c:v>0.28501371942320053</c:v>
                </c:pt>
                <c:pt idx="153">
                  <c:v>0.27646514265698108</c:v>
                </c:pt>
                <c:pt idx="154">
                  <c:v>0.25901770597899954</c:v>
                </c:pt>
                <c:pt idx="155">
                  <c:v>0.24937657940168312</c:v>
                </c:pt>
                <c:pt idx="156">
                  <c:v>0.26232037563697319</c:v>
                </c:pt>
                <c:pt idx="157">
                  <c:v>0.2588842647806977</c:v>
                </c:pt>
                <c:pt idx="158">
                  <c:v>0.25612369999082607</c:v>
                </c:pt>
                <c:pt idx="159">
                  <c:v>0.26650709323369726</c:v>
                </c:pt>
                <c:pt idx="160">
                  <c:v>0.25614872021550772</c:v>
                </c:pt>
                <c:pt idx="161">
                  <c:v>0.25773333444534341</c:v>
                </c:pt>
                <c:pt idx="162">
                  <c:v>0.25476426778312478</c:v>
                </c:pt>
                <c:pt idx="163">
                  <c:v>0.25168678014728574</c:v>
                </c:pt>
                <c:pt idx="164">
                  <c:v>0.23514841163273648</c:v>
                </c:pt>
                <c:pt idx="165">
                  <c:v>0.23024444759513929</c:v>
                </c:pt>
                <c:pt idx="166">
                  <c:v>0.25083609250811079</c:v>
                </c:pt>
                <c:pt idx="167">
                  <c:v>0.23675804608725404</c:v>
                </c:pt>
                <c:pt idx="168">
                  <c:v>0.26317940335104195</c:v>
                </c:pt>
                <c:pt idx="169">
                  <c:v>0.25689932695595608</c:v>
                </c:pt>
                <c:pt idx="170">
                  <c:v>0.24825900936590428</c:v>
                </c:pt>
                <c:pt idx="171">
                  <c:v>0.25310459287924414</c:v>
                </c:pt>
                <c:pt idx="172">
                  <c:v>0.25449738538652089</c:v>
                </c:pt>
                <c:pt idx="173">
                  <c:v>0.26283746028039334</c:v>
                </c:pt>
                <c:pt idx="174">
                  <c:v>0.26126952620034527</c:v>
                </c:pt>
                <c:pt idx="175">
                  <c:v>0.25423884306481059</c:v>
                </c:pt>
                <c:pt idx="176">
                  <c:v>0.26885065427887556</c:v>
                </c:pt>
                <c:pt idx="177">
                  <c:v>0.27364619734285234</c:v>
                </c:pt>
                <c:pt idx="178">
                  <c:v>0.26319608350082979</c:v>
                </c:pt>
                <c:pt idx="179">
                  <c:v>0.27045194865849886</c:v>
                </c:pt>
                <c:pt idx="180">
                  <c:v>0.26088588275522717</c:v>
                </c:pt>
                <c:pt idx="181">
                  <c:v>0.273137452774326</c:v>
                </c:pt>
                <c:pt idx="182">
                  <c:v>0.2874573613671052</c:v>
                </c:pt>
                <c:pt idx="183">
                  <c:v>0.29110197409572725</c:v>
                </c:pt>
                <c:pt idx="184">
                  <c:v>0.29993411340833842</c:v>
                </c:pt>
                <c:pt idx="185">
                  <c:v>0.30389564898292787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Stock 2025'!$I$1</c:f>
              <c:strCache>
                <c:ptCount val="1"/>
                <c:pt idx="0">
                  <c:v>BET-EF%</c:v>
                </c:pt>
              </c:strCache>
            </c:strRef>
          </c:tx>
          <c:marker>
            <c:symbol val="none"/>
          </c:marker>
          <c:cat>
            <c:strRef>
              <c:f>'Stock 2025'!$A$2:$A$188</c:f>
              <c:strCache>
                <c:ptCount val="186"/>
                <c:pt idx="0">
                  <c:v>30.12.2024</c:v>
                </c:pt>
                <c:pt idx="1">
                  <c:v>03.01.2025</c:v>
                </c:pt>
                <c:pt idx="2">
                  <c:v>08.01.2025</c:v>
                </c:pt>
                <c:pt idx="3">
                  <c:v>09.01.2025</c:v>
                </c:pt>
                <c:pt idx="4">
                  <c:v>10.01.2025</c:v>
                </c:pt>
                <c:pt idx="5">
                  <c:v>13.01.2025</c:v>
                </c:pt>
                <c:pt idx="6">
                  <c:v>14.01.2025</c:v>
                </c:pt>
                <c:pt idx="7">
                  <c:v>15.01.2025</c:v>
                </c:pt>
                <c:pt idx="8">
                  <c:v>16.01.2025</c:v>
                </c:pt>
                <c:pt idx="9">
                  <c:v>17.01.2025</c:v>
                </c:pt>
                <c:pt idx="10">
                  <c:v>20.01.2025</c:v>
                </c:pt>
                <c:pt idx="11">
                  <c:v>21.01.2025</c:v>
                </c:pt>
                <c:pt idx="12">
                  <c:v>22.01.2025</c:v>
                </c:pt>
                <c:pt idx="13">
                  <c:v>23.01.2025</c:v>
                </c:pt>
                <c:pt idx="14">
                  <c:v>27.01.2025</c:v>
                </c:pt>
                <c:pt idx="15">
                  <c:v>28.01.2025</c:v>
                </c:pt>
                <c:pt idx="16">
                  <c:v>29.01.2025</c:v>
                </c:pt>
                <c:pt idx="17">
                  <c:v>30.01.2025</c:v>
                </c:pt>
                <c:pt idx="18">
                  <c:v>31.01.2025</c:v>
                </c:pt>
                <c:pt idx="19">
                  <c:v>03.02.2025</c:v>
                </c:pt>
                <c:pt idx="20">
                  <c:v>04.02.2025</c:v>
                </c:pt>
                <c:pt idx="21">
                  <c:v>05.02.2025</c:v>
                </c:pt>
                <c:pt idx="22">
                  <c:v>06.02.2025</c:v>
                </c:pt>
                <c:pt idx="23">
                  <c:v>07.02.2025</c:v>
                </c:pt>
                <c:pt idx="24">
                  <c:v>10.02.2025</c:v>
                </c:pt>
                <c:pt idx="25">
                  <c:v>11.02.2025</c:v>
                </c:pt>
                <c:pt idx="26">
                  <c:v>12.02.2025</c:v>
                </c:pt>
                <c:pt idx="27">
                  <c:v>13.02.2025</c:v>
                </c:pt>
                <c:pt idx="28">
                  <c:v>14.02.2025</c:v>
                </c:pt>
                <c:pt idx="29">
                  <c:v>17.02.2025</c:v>
                </c:pt>
                <c:pt idx="30">
                  <c:v>18.02.2025</c:v>
                </c:pt>
                <c:pt idx="31">
                  <c:v>19.02.2025</c:v>
                </c:pt>
                <c:pt idx="32">
                  <c:v>20.02.2025</c:v>
                </c:pt>
                <c:pt idx="33">
                  <c:v>21.02.2025</c:v>
                </c:pt>
                <c:pt idx="34">
                  <c:v>24.02.2025</c:v>
                </c:pt>
                <c:pt idx="35">
                  <c:v>25.02.2025</c:v>
                </c:pt>
                <c:pt idx="36">
                  <c:v>26.02.2025</c:v>
                </c:pt>
                <c:pt idx="37">
                  <c:v>27.02.2025</c:v>
                </c:pt>
                <c:pt idx="38">
                  <c:v>28.02.2025</c:v>
                </c:pt>
                <c:pt idx="39">
                  <c:v>03.03.2025</c:v>
                </c:pt>
                <c:pt idx="40">
                  <c:v>04.03.2025</c:v>
                </c:pt>
                <c:pt idx="41">
                  <c:v>05.03.2025</c:v>
                </c:pt>
                <c:pt idx="42">
                  <c:v>06.03.2025</c:v>
                </c:pt>
                <c:pt idx="43">
                  <c:v>07.03.2025</c:v>
                </c:pt>
                <c:pt idx="44">
                  <c:v>10.03.2025</c:v>
                </c:pt>
                <c:pt idx="45">
                  <c:v>11.03.2025</c:v>
                </c:pt>
                <c:pt idx="46">
                  <c:v>12.03.2025</c:v>
                </c:pt>
                <c:pt idx="47">
                  <c:v>13.03.2025</c:v>
                </c:pt>
                <c:pt idx="48">
                  <c:v>14.03.2025</c:v>
                </c:pt>
                <c:pt idx="49">
                  <c:v>17.03.2025</c:v>
                </c:pt>
                <c:pt idx="50">
                  <c:v>18.03.2025</c:v>
                </c:pt>
                <c:pt idx="51">
                  <c:v>19.03.2025</c:v>
                </c:pt>
                <c:pt idx="52">
                  <c:v>20.03.2025</c:v>
                </c:pt>
                <c:pt idx="53">
                  <c:v>21.03.2025</c:v>
                </c:pt>
                <c:pt idx="54">
                  <c:v>24.03.2025</c:v>
                </c:pt>
                <c:pt idx="55">
                  <c:v>25.03.2025</c:v>
                </c:pt>
                <c:pt idx="56">
                  <c:v>26.03.2025</c:v>
                </c:pt>
                <c:pt idx="57">
                  <c:v>27.03.2025</c:v>
                </c:pt>
                <c:pt idx="58">
                  <c:v>28.03.2025</c:v>
                </c:pt>
                <c:pt idx="59">
                  <c:v>31.03.2025</c:v>
                </c:pt>
                <c:pt idx="60">
                  <c:v>01.04.2025</c:v>
                </c:pt>
                <c:pt idx="61">
                  <c:v>02.04.2025</c:v>
                </c:pt>
                <c:pt idx="62">
                  <c:v>03.04.2025</c:v>
                </c:pt>
                <c:pt idx="63">
                  <c:v>04.04.2025</c:v>
                </c:pt>
                <c:pt idx="64">
                  <c:v>07.04.2025</c:v>
                </c:pt>
                <c:pt idx="65">
                  <c:v>08.04.2025</c:v>
                </c:pt>
                <c:pt idx="66">
                  <c:v>09.04.2025</c:v>
                </c:pt>
                <c:pt idx="67">
                  <c:v>10.04.2025</c:v>
                </c:pt>
                <c:pt idx="68">
                  <c:v>11.04.2025</c:v>
                </c:pt>
                <c:pt idx="69">
                  <c:v>14.04.2025</c:v>
                </c:pt>
                <c:pt idx="70">
                  <c:v>15.04.2025</c:v>
                </c:pt>
                <c:pt idx="71">
                  <c:v>16.04.2025</c:v>
                </c:pt>
                <c:pt idx="72">
                  <c:v>17.04.2025</c:v>
                </c:pt>
                <c:pt idx="73">
                  <c:v>22.04.2025</c:v>
                </c:pt>
                <c:pt idx="74">
                  <c:v>23.04.2025</c:v>
                </c:pt>
                <c:pt idx="75">
                  <c:v>24.04.2025</c:v>
                </c:pt>
                <c:pt idx="76">
                  <c:v>25.04.2025</c:v>
                </c:pt>
                <c:pt idx="77">
                  <c:v>28.04.2025</c:v>
                </c:pt>
                <c:pt idx="78">
                  <c:v>29.04.2025</c:v>
                </c:pt>
                <c:pt idx="79">
                  <c:v>30.04.2025</c:v>
                </c:pt>
                <c:pt idx="80">
                  <c:v>02.05.2025</c:v>
                </c:pt>
                <c:pt idx="81">
                  <c:v>05.05.2025</c:v>
                </c:pt>
                <c:pt idx="82">
                  <c:v>06.05.2025</c:v>
                </c:pt>
                <c:pt idx="83">
                  <c:v>07.05.2025</c:v>
                </c:pt>
                <c:pt idx="84">
                  <c:v>08.05.2025</c:v>
                </c:pt>
                <c:pt idx="85">
                  <c:v>09.05.2025</c:v>
                </c:pt>
                <c:pt idx="86">
                  <c:v>12.05.2025</c:v>
                </c:pt>
                <c:pt idx="87">
                  <c:v>13.05.2025</c:v>
                </c:pt>
                <c:pt idx="88">
                  <c:v>14.05.2025</c:v>
                </c:pt>
                <c:pt idx="89">
                  <c:v>15.05.2025</c:v>
                </c:pt>
                <c:pt idx="90">
                  <c:v>16.05.2025</c:v>
                </c:pt>
                <c:pt idx="91">
                  <c:v>19.05.2025</c:v>
                </c:pt>
                <c:pt idx="92">
                  <c:v>20.05.2025</c:v>
                </c:pt>
                <c:pt idx="93">
                  <c:v>21.05.2025</c:v>
                </c:pt>
                <c:pt idx="94">
                  <c:v>22.05.2025</c:v>
                </c:pt>
                <c:pt idx="95">
                  <c:v>23.05.2025</c:v>
                </c:pt>
                <c:pt idx="96">
                  <c:v>26.05.2025</c:v>
                </c:pt>
                <c:pt idx="97">
                  <c:v>27.05.2025</c:v>
                </c:pt>
                <c:pt idx="98">
                  <c:v>28.05.2025</c:v>
                </c:pt>
                <c:pt idx="99">
                  <c:v>29.05.2025</c:v>
                </c:pt>
                <c:pt idx="100">
                  <c:v>30.05.2025</c:v>
                </c:pt>
                <c:pt idx="101">
                  <c:v>02.06.2025</c:v>
                </c:pt>
                <c:pt idx="102">
                  <c:v>03.06.2025</c:v>
                </c:pt>
                <c:pt idx="103">
                  <c:v>04.06.2025</c:v>
                </c:pt>
                <c:pt idx="104">
                  <c:v>05.06.2025</c:v>
                </c:pt>
                <c:pt idx="105">
                  <c:v>06.06.2025</c:v>
                </c:pt>
                <c:pt idx="106">
                  <c:v>10.06.2025</c:v>
                </c:pt>
                <c:pt idx="107">
                  <c:v>11.06.2025</c:v>
                </c:pt>
                <c:pt idx="108">
                  <c:v>12.06.2025</c:v>
                </c:pt>
                <c:pt idx="109">
                  <c:v>13.06.2025</c:v>
                </c:pt>
                <c:pt idx="110">
                  <c:v>16.06.2025</c:v>
                </c:pt>
                <c:pt idx="111">
                  <c:v>17.06.2025</c:v>
                </c:pt>
                <c:pt idx="112">
                  <c:v>18.06.2025</c:v>
                </c:pt>
                <c:pt idx="113">
                  <c:v>19.06.2025</c:v>
                </c:pt>
                <c:pt idx="114">
                  <c:v>20.06.2025</c:v>
                </c:pt>
                <c:pt idx="115">
                  <c:v>23.06.2025</c:v>
                </c:pt>
                <c:pt idx="116">
                  <c:v>24.06.2025</c:v>
                </c:pt>
                <c:pt idx="117">
                  <c:v>25.06.2025</c:v>
                </c:pt>
                <c:pt idx="118">
                  <c:v>26.06.2025</c:v>
                </c:pt>
                <c:pt idx="119">
                  <c:v>27.06.2025</c:v>
                </c:pt>
                <c:pt idx="120">
                  <c:v>30.06.2025</c:v>
                </c:pt>
                <c:pt idx="121">
                  <c:v>01.07.2025</c:v>
                </c:pt>
                <c:pt idx="122">
                  <c:v>02.07.2025</c:v>
                </c:pt>
                <c:pt idx="123">
                  <c:v>03.07.2025</c:v>
                </c:pt>
                <c:pt idx="124">
                  <c:v>04.07.2025</c:v>
                </c:pt>
                <c:pt idx="125">
                  <c:v>07.07.2025</c:v>
                </c:pt>
                <c:pt idx="126">
                  <c:v>08.07.2025</c:v>
                </c:pt>
                <c:pt idx="127">
                  <c:v>09.07.2025</c:v>
                </c:pt>
                <c:pt idx="128">
                  <c:v>10.07.2025</c:v>
                </c:pt>
                <c:pt idx="129">
                  <c:v>11.07.2025</c:v>
                </c:pt>
                <c:pt idx="130">
                  <c:v>14.07.2025</c:v>
                </c:pt>
                <c:pt idx="131">
                  <c:v>15.07.2025</c:v>
                </c:pt>
                <c:pt idx="132">
                  <c:v>16.07.2025</c:v>
                </c:pt>
                <c:pt idx="133">
                  <c:v>17.07.2025</c:v>
                </c:pt>
                <c:pt idx="134">
                  <c:v>18.07.2025</c:v>
                </c:pt>
                <c:pt idx="135">
                  <c:v>21.07.2025</c:v>
                </c:pt>
                <c:pt idx="136">
                  <c:v>22.07.2025</c:v>
                </c:pt>
                <c:pt idx="137">
                  <c:v>23.07.2025</c:v>
                </c:pt>
                <c:pt idx="138">
                  <c:v>24.07.2025</c:v>
                </c:pt>
                <c:pt idx="139">
                  <c:v>25.07.2025</c:v>
                </c:pt>
                <c:pt idx="140">
                  <c:v>28.07.2025</c:v>
                </c:pt>
                <c:pt idx="141">
                  <c:v>29.07.2025</c:v>
                </c:pt>
                <c:pt idx="142">
                  <c:v>30.07.2025</c:v>
                </c:pt>
                <c:pt idx="143">
                  <c:v>31.07.2025</c:v>
                </c:pt>
                <c:pt idx="144">
                  <c:v>01.08.2025</c:v>
                </c:pt>
                <c:pt idx="145">
                  <c:v>04.08.2025</c:v>
                </c:pt>
                <c:pt idx="146">
                  <c:v>05.08.2025</c:v>
                </c:pt>
                <c:pt idx="147">
                  <c:v>06.08.2025</c:v>
                </c:pt>
                <c:pt idx="148">
                  <c:v>07.08.2025</c:v>
                </c:pt>
                <c:pt idx="149">
                  <c:v>08.08.2025</c:v>
                </c:pt>
                <c:pt idx="150">
                  <c:v>11.08.2025</c:v>
                </c:pt>
                <c:pt idx="151">
                  <c:v>12.08.2025</c:v>
                </c:pt>
                <c:pt idx="152">
                  <c:v>13.08.2025</c:v>
                </c:pt>
                <c:pt idx="153">
                  <c:v>14.08.2025</c:v>
                </c:pt>
                <c:pt idx="154">
                  <c:v>18.08.2025</c:v>
                </c:pt>
                <c:pt idx="155">
                  <c:v>19.08.2025</c:v>
                </c:pt>
                <c:pt idx="156">
                  <c:v>20.08.2025</c:v>
                </c:pt>
                <c:pt idx="157">
                  <c:v>21.08.2025</c:v>
                </c:pt>
                <c:pt idx="158">
                  <c:v>22.08.2025</c:v>
                </c:pt>
                <c:pt idx="159">
                  <c:v>25.08.2025</c:v>
                </c:pt>
                <c:pt idx="160">
                  <c:v>26.08.2025</c:v>
                </c:pt>
                <c:pt idx="161">
                  <c:v>27.08.2025</c:v>
                </c:pt>
                <c:pt idx="162">
                  <c:v>28.08.2025</c:v>
                </c:pt>
                <c:pt idx="163">
                  <c:v>29.08.2025</c:v>
                </c:pt>
                <c:pt idx="164">
                  <c:v>01.09.2025</c:v>
                </c:pt>
                <c:pt idx="165">
                  <c:v>02.09.2025</c:v>
                </c:pt>
                <c:pt idx="166">
                  <c:v>03.09.2025</c:v>
                </c:pt>
                <c:pt idx="167">
                  <c:v>04.09.2025</c:v>
                </c:pt>
                <c:pt idx="168">
                  <c:v>05.09.2025</c:v>
                </c:pt>
                <c:pt idx="169">
                  <c:v>08.09.2025</c:v>
                </c:pt>
                <c:pt idx="170">
                  <c:v>09.09.2025</c:v>
                </c:pt>
                <c:pt idx="171">
                  <c:v>10.09.2025</c:v>
                </c:pt>
                <c:pt idx="172">
                  <c:v>11.09.2025</c:v>
                </c:pt>
                <c:pt idx="173">
                  <c:v>12.09.2025</c:v>
                </c:pt>
                <c:pt idx="174">
                  <c:v>15.09.2025</c:v>
                </c:pt>
                <c:pt idx="175">
                  <c:v>16.09.2025</c:v>
                </c:pt>
                <c:pt idx="176">
                  <c:v>17.09.2025</c:v>
                </c:pt>
                <c:pt idx="177">
                  <c:v>18.09.2025</c:v>
                </c:pt>
                <c:pt idx="178">
                  <c:v>19.09.2025</c:v>
                </c:pt>
                <c:pt idx="179">
                  <c:v>22.09.2025</c:v>
                </c:pt>
                <c:pt idx="180">
                  <c:v>23.09.2025</c:v>
                </c:pt>
                <c:pt idx="181">
                  <c:v>24.09.2025</c:v>
                </c:pt>
                <c:pt idx="182">
                  <c:v>25.09.2025</c:v>
                </c:pt>
                <c:pt idx="183">
                  <c:v>26.09.2025</c:v>
                </c:pt>
                <c:pt idx="184">
                  <c:v>29.09.2025</c:v>
                </c:pt>
                <c:pt idx="185">
                  <c:v>30.09.2025</c:v>
                </c:pt>
              </c:strCache>
            </c:strRef>
          </c:cat>
          <c:val>
            <c:numRef>
              <c:f>'Stock 2025'!$I$2:$I$188</c:f>
              <c:numCache>
                <c:formatCode>0.00%</c:formatCode>
                <c:ptCount val="186"/>
                <c:pt idx="0">
                  <c:v>0</c:v>
                </c:pt>
                <c:pt idx="1">
                  <c:v>1.9140603453031035E-2</c:v>
                </c:pt>
                <c:pt idx="2">
                  <c:v>2.5329582436979248E-2</c:v>
                </c:pt>
                <c:pt idx="3">
                  <c:v>2.4182249434607561E-2</c:v>
                </c:pt>
                <c:pt idx="4">
                  <c:v>2.1291852832478364E-2</c:v>
                </c:pt>
                <c:pt idx="5">
                  <c:v>1.7695405151966437E-2</c:v>
                </c:pt>
                <c:pt idx="6">
                  <c:v>2.3840255943515798E-2</c:v>
                </c:pt>
                <c:pt idx="7">
                  <c:v>1.7529924430470523E-2</c:v>
                </c:pt>
                <c:pt idx="8">
                  <c:v>1.7993270450659127E-2</c:v>
                </c:pt>
                <c:pt idx="9">
                  <c:v>1.3624579403166193E-2</c:v>
                </c:pt>
                <c:pt idx="10">
                  <c:v>1.2488278448893997E-2</c:v>
                </c:pt>
                <c:pt idx="11">
                  <c:v>1.4440950962546051E-2</c:v>
                </c:pt>
                <c:pt idx="12">
                  <c:v>2.0762314523691261E-2</c:v>
                </c:pt>
                <c:pt idx="13">
                  <c:v>2.2328865353852922E-2</c:v>
                </c:pt>
                <c:pt idx="14">
                  <c:v>1.729825142037611E-2</c:v>
                </c:pt>
                <c:pt idx="15">
                  <c:v>2.0839538860389473E-2</c:v>
                </c:pt>
                <c:pt idx="16">
                  <c:v>1.9824590435214118E-2</c:v>
                </c:pt>
                <c:pt idx="17">
                  <c:v>1.9515693088421715E-2</c:v>
                </c:pt>
                <c:pt idx="18">
                  <c:v>1.8169783220254754E-2</c:v>
                </c:pt>
                <c:pt idx="19">
                  <c:v>1.6625296486292518E-2</c:v>
                </c:pt>
                <c:pt idx="20">
                  <c:v>1.7739533344365288E-2</c:v>
                </c:pt>
                <c:pt idx="21">
                  <c:v>2.5274422196480684E-2</c:v>
                </c:pt>
                <c:pt idx="22">
                  <c:v>3.0271939985658358E-2</c:v>
                </c:pt>
                <c:pt idx="23">
                  <c:v>2.5947377130564275E-2</c:v>
                </c:pt>
                <c:pt idx="24">
                  <c:v>3.0812510342544952E-2</c:v>
                </c:pt>
                <c:pt idx="25">
                  <c:v>3.7343482817584928E-2</c:v>
                </c:pt>
                <c:pt idx="26">
                  <c:v>4.3245628550940385E-2</c:v>
                </c:pt>
                <c:pt idx="27">
                  <c:v>5.4630702189861546E-2</c:v>
                </c:pt>
                <c:pt idx="28">
                  <c:v>6.5044955596006204E-2</c:v>
                </c:pt>
                <c:pt idx="29">
                  <c:v>6.1547796348392136E-2</c:v>
                </c:pt>
                <c:pt idx="30">
                  <c:v>6.7913288101935976E-2</c:v>
                </c:pt>
                <c:pt idx="31">
                  <c:v>7.4389100336477387E-2</c:v>
                </c:pt>
                <c:pt idx="32">
                  <c:v>6.6446025704671952E-2</c:v>
                </c:pt>
                <c:pt idx="33">
                  <c:v>5.4873407248055672E-2</c:v>
                </c:pt>
                <c:pt idx="34">
                  <c:v>5.0008274036074774E-2</c:v>
                </c:pt>
                <c:pt idx="35">
                  <c:v>5.6406861933917973E-2</c:v>
                </c:pt>
                <c:pt idx="36">
                  <c:v>5.997021347013054E-2</c:v>
                </c:pt>
                <c:pt idx="37">
                  <c:v>6.2033206464780166E-2</c:v>
                </c:pt>
                <c:pt idx="38">
                  <c:v>5.0317171382867176E-2</c:v>
                </c:pt>
                <c:pt idx="39">
                  <c:v>4.8706492360306664E-2</c:v>
                </c:pt>
                <c:pt idx="40">
                  <c:v>2.6995421700038547E-2</c:v>
                </c:pt>
                <c:pt idx="41">
                  <c:v>4.1866622538474285E-2</c:v>
                </c:pt>
                <c:pt idx="42">
                  <c:v>4.6599371173258408E-2</c:v>
                </c:pt>
                <c:pt idx="43">
                  <c:v>5.5226432787246926E-2</c:v>
                </c:pt>
                <c:pt idx="44">
                  <c:v>4.6610403221358121E-2</c:v>
                </c:pt>
                <c:pt idx="45">
                  <c:v>5.278835015720662E-2</c:v>
                </c:pt>
                <c:pt idx="46">
                  <c:v>4.4757019140603482E-2</c:v>
                </c:pt>
                <c:pt idx="47">
                  <c:v>4.0046334602018785E-2</c:v>
                </c:pt>
                <c:pt idx="48">
                  <c:v>3.4706823321749569E-2</c:v>
                </c:pt>
                <c:pt idx="49">
                  <c:v>4.4999724198797386E-2</c:v>
                </c:pt>
                <c:pt idx="50">
                  <c:v>3.7773732693474615E-2</c:v>
                </c:pt>
                <c:pt idx="51">
                  <c:v>3.7630316068177905E-2</c:v>
                </c:pt>
                <c:pt idx="52">
                  <c:v>3.8259142809862645E-2</c:v>
                </c:pt>
                <c:pt idx="53">
                  <c:v>3.4497214407854804E-2</c:v>
                </c:pt>
                <c:pt idx="54">
                  <c:v>4.2495449280158804E-2</c:v>
                </c:pt>
                <c:pt idx="55">
                  <c:v>4.6014672623972519E-2</c:v>
                </c:pt>
                <c:pt idx="56">
                  <c:v>4.6742787798554897E-2</c:v>
                </c:pt>
                <c:pt idx="57">
                  <c:v>5.0460588008163665E-2</c:v>
                </c:pt>
                <c:pt idx="58">
                  <c:v>5.5733906999834604E-2</c:v>
                </c:pt>
                <c:pt idx="59">
                  <c:v>5.2325004137018016E-2</c:v>
                </c:pt>
                <c:pt idx="60">
                  <c:v>5.4365933035467995E-2</c:v>
                </c:pt>
                <c:pt idx="61">
                  <c:v>5.4012907496276519E-2</c:v>
                </c:pt>
                <c:pt idx="62">
                  <c:v>4.0377296045010613E-2</c:v>
                </c:pt>
                <c:pt idx="63">
                  <c:v>1.3900380605659235E-2</c:v>
                </c:pt>
                <c:pt idx="64">
                  <c:v>-9.1014396822770571E-3</c:v>
                </c:pt>
                <c:pt idx="65">
                  <c:v>2.6554139776049368E-2</c:v>
                </c:pt>
                <c:pt idx="66">
                  <c:v>-4.4900435765899971E-3</c:v>
                </c:pt>
                <c:pt idx="67">
                  <c:v>2.0265872359203518E-2</c:v>
                </c:pt>
                <c:pt idx="68">
                  <c:v>2.622317833305754E-2</c:v>
                </c:pt>
                <c:pt idx="69">
                  <c:v>2.5936345082464562E-2</c:v>
                </c:pt>
                <c:pt idx="70">
                  <c:v>2.9223895416184087E-2</c:v>
                </c:pt>
                <c:pt idx="71">
                  <c:v>2.5914280986265137E-2</c:v>
                </c:pt>
                <c:pt idx="72">
                  <c:v>2.6686524353246144E-2</c:v>
                </c:pt>
                <c:pt idx="73">
                  <c:v>3.3283689116884396E-2</c:v>
                </c:pt>
                <c:pt idx="74">
                  <c:v>4.1259859892989192E-2</c:v>
                </c:pt>
                <c:pt idx="75">
                  <c:v>4.3664846378730138E-2</c:v>
                </c:pt>
                <c:pt idx="76">
                  <c:v>4.7117877433945576E-2</c:v>
                </c:pt>
                <c:pt idx="77">
                  <c:v>4.5860223950576318E-2</c:v>
                </c:pt>
                <c:pt idx="78">
                  <c:v>4.8728556456506089E-2</c:v>
                </c:pt>
                <c:pt idx="79">
                  <c:v>3.0735286005846962E-2</c:v>
                </c:pt>
                <c:pt idx="80">
                  <c:v>3.012852336036187E-2</c:v>
                </c:pt>
                <c:pt idx="81">
                  <c:v>1.5444867339622359E-3</c:v>
                </c:pt>
                <c:pt idx="82">
                  <c:v>-1.5113905896629865E-3</c:v>
                </c:pt>
                <c:pt idx="83">
                  <c:v>1.2024932428704727E-3</c:v>
                </c:pt>
                <c:pt idx="84">
                  <c:v>-1.7430635997572996E-2</c:v>
                </c:pt>
                <c:pt idx="85">
                  <c:v>-6.2441392244471094E-3</c:v>
                </c:pt>
                <c:pt idx="86">
                  <c:v>-9.5868497986651979E-3</c:v>
                </c:pt>
                <c:pt idx="87">
                  <c:v>-4.6665563461857351E-3</c:v>
                </c:pt>
                <c:pt idx="88">
                  <c:v>-7.8437861989077984E-3</c:v>
                </c:pt>
                <c:pt idx="89">
                  <c:v>-2.1744166804567255E-2</c:v>
                </c:pt>
                <c:pt idx="90">
                  <c:v>9.2779524518726841E-3</c:v>
                </c:pt>
                <c:pt idx="91">
                  <c:v>5.0052402228473625E-2</c:v>
                </c:pt>
                <c:pt idx="92">
                  <c:v>4.3907551436924264E-2</c:v>
                </c:pt>
                <c:pt idx="93">
                  <c:v>3.3107176347288769E-2</c:v>
                </c:pt>
                <c:pt idx="94">
                  <c:v>5.2534613050913004E-2</c:v>
                </c:pt>
                <c:pt idx="95">
                  <c:v>4.7934248993325435E-2</c:v>
                </c:pt>
                <c:pt idx="96">
                  <c:v>6.2397264052071133E-2</c:v>
                </c:pt>
                <c:pt idx="97">
                  <c:v>7.0218986154779506E-2</c:v>
                </c:pt>
                <c:pt idx="98">
                  <c:v>7.7996580065089027E-2</c:v>
                </c:pt>
                <c:pt idx="99">
                  <c:v>8.4152462904738323E-2</c:v>
                </c:pt>
                <c:pt idx="100">
                  <c:v>0.10238843841359135</c:v>
                </c:pt>
                <c:pt idx="101">
                  <c:v>0.11645429974074673</c:v>
                </c:pt>
                <c:pt idx="102">
                  <c:v>0.11340945446522133</c:v>
                </c:pt>
                <c:pt idx="103">
                  <c:v>0.11719344696342859</c:v>
                </c:pt>
                <c:pt idx="104">
                  <c:v>0.12770698880247111</c:v>
                </c:pt>
                <c:pt idx="105">
                  <c:v>0.12808207843786179</c:v>
                </c:pt>
                <c:pt idx="106">
                  <c:v>0.11403828120690607</c:v>
                </c:pt>
                <c:pt idx="107">
                  <c:v>0.10779414198245885</c:v>
                </c:pt>
                <c:pt idx="108">
                  <c:v>0.10786033427105735</c:v>
                </c:pt>
                <c:pt idx="109">
                  <c:v>0.10210160516299838</c:v>
                </c:pt>
                <c:pt idx="110">
                  <c:v>0.11065144244028891</c:v>
                </c:pt>
                <c:pt idx="111">
                  <c:v>0.12030448452755249</c:v>
                </c:pt>
                <c:pt idx="112">
                  <c:v>0.11910199128468202</c:v>
                </c:pt>
                <c:pt idx="113">
                  <c:v>0.11700590214573325</c:v>
                </c:pt>
                <c:pt idx="114">
                  <c:v>0.13160130178167573</c:v>
                </c:pt>
                <c:pt idx="115">
                  <c:v>0.11877102984168997</c:v>
                </c:pt>
                <c:pt idx="116">
                  <c:v>0.11890341441888674</c:v>
                </c:pt>
                <c:pt idx="117">
                  <c:v>0.11168845496166369</c:v>
                </c:pt>
                <c:pt idx="118">
                  <c:v>0.10965855811131342</c:v>
                </c:pt>
                <c:pt idx="119">
                  <c:v>0.11731479949252566</c:v>
                </c:pt>
                <c:pt idx="120">
                  <c:v>0.124651111478846</c:v>
                </c:pt>
                <c:pt idx="121">
                  <c:v>0.1309614429918915</c:v>
                </c:pt>
                <c:pt idx="122">
                  <c:v>0.11126923713387371</c:v>
                </c:pt>
                <c:pt idx="123">
                  <c:v>0.1199404269402613</c:v>
                </c:pt>
                <c:pt idx="124">
                  <c:v>0.11682938937613763</c:v>
                </c:pt>
                <c:pt idx="125">
                  <c:v>0.11858348502399463</c:v>
                </c:pt>
                <c:pt idx="126">
                  <c:v>0.12123117656792992</c:v>
                </c:pt>
                <c:pt idx="127">
                  <c:v>0.12507032930663575</c:v>
                </c:pt>
                <c:pt idx="128">
                  <c:v>0.1328699873131447</c:v>
                </c:pt>
                <c:pt idx="129">
                  <c:v>0.13032158420210704</c:v>
                </c:pt>
                <c:pt idx="130">
                  <c:v>0.14192729880302268</c:v>
                </c:pt>
                <c:pt idx="131">
                  <c:v>0.14827072646036732</c:v>
                </c:pt>
                <c:pt idx="132">
                  <c:v>0.15966683214738819</c:v>
                </c:pt>
                <c:pt idx="133">
                  <c:v>0.17828892933973184</c:v>
                </c:pt>
                <c:pt idx="134">
                  <c:v>0.18368360086049984</c:v>
                </c:pt>
                <c:pt idx="135">
                  <c:v>0.18104694136466426</c:v>
                </c:pt>
                <c:pt idx="136">
                  <c:v>0.17745049368415233</c:v>
                </c:pt>
                <c:pt idx="137">
                  <c:v>0.18064978763307415</c:v>
                </c:pt>
                <c:pt idx="138">
                  <c:v>0.18313199845551331</c:v>
                </c:pt>
                <c:pt idx="139">
                  <c:v>0.1896078106900545</c:v>
                </c:pt>
                <c:pt idx="140">
                  <c:v>0.19429643113243955</c:v>
                </c:pt>
                <c:pt idx="141">
                  <c:v>0.19277400849467696</c:v>
                </c:pt>
                <c:pt idx="142">
                  <c:v>0.19510177064371992</c:v>
                </c:pt>
                <c:pt idx="143">
                  <c:v>0.20488719730818028</c:v>
                </c:pt>
                <c:pt idx="144">
                  <c:v>0.20282420431353065</c:v>
                </c:pt>
                <c:pt idx="145">
                  <c:v>0.20208505709084901</c:v>
                </c:pt>
                <c:pt idx="146">
                  <c:v>0.21103204809972964</c:v>
                </c:pt>
                <c:pt idx="147">
                  <c:v>0.22021071211870469</c:v>
                </c:pt>
                <c:pt idx="148">
                  <c:v>0.24135914832588656</c:v>
                </c:pt>
                <c:pt idx="149">
                  <c:v>0.24688620442385134</c:v>
                </c:pt>
                <c:pt idx="150">
                  <c:v>0.24965524849688348</c:v>
                </c:pt>
                <c:pt idx="151">
                  <c:v>0.24148050085498363</c:v>
                </c:pt>
                <c:pt idx="152">
                  <c:v>0.26428374427712487</c:v>
                </c:pt>
                <c:pt idx="153">
                  <c:v>0.25639582988581822</c:v>
                </c:pt>
                <c:pt idx="154">
                  <c:v>0.24100612278669531</c:v>
                </c:pt>
                <c:pt idx="155">
                  <c:v>0.23253350984610299</c:v>
                </c:pt>
                <c:pt idx="156">
                  <c:v>0.24427160902421519</c:v>
                </c:pt>
                <c:pt idx="157">
                  <c:v>0.23983672568812375</c:v>
                </c:pt>
                <c:pt idx="158">
                  <c:v>0.23641679077720767</c:v>
                </c:pt>
                <c:pt idx="159">
                  <c:v>0.24491146781399964</c:v>
                </c:pt>
                <c:pt idx="160">
                  <c:v>0.23397870814716737</c:v>
                </c:pt>
                <c:pt idx="161">
                  <c:v>0.23539081030393283</c:v>
                </c:pt>
                <c:pt idx="162">
                  <c:v>0.2283523636163054</c:v>
                </c:pt>
                <c:pt idx="163">
                  <c:v>0.22965414529207329</c:v>
                </c:pt>
                <c:pt idx="164">
                  <c:v>0.21799327045065908</c:v>
                </c:pt>
                <c:pt idx="165">
                  <c:v>0.2147388162612387</c:v>
                </c:pt>
                <c:pt idx="166">
                  <c:v>0.23417728501296264</c:v>
                </c:pt>
                <c:pt idx="167">
                  <c:v>0.22511997352308444</c:v>
                </c:pt>
                <c:pt idx="168">
                  <c:v>0.24396271167742278</c:v>
                </c:pt>
                <c:pt idx="169">
                  <c:v>0.238568040156655</c:v>
                </c:pt>
                <c:pt idx="170">
                  <c:v>0.2311765679298361</c:v>
                </c:pt>
                <c:pt idx="171">
                  <c:v>0.2351481052457387</c:v>
                </c:pt>
                <c:pt idx="172">
                  <c:v>0.23686910474929679</c:v>
                </c:pt>
                <c:pt idx="173">
                  <c:v>0.24341110927243625</c:v>
                </c:pt>
                <c:pt idx="174">
                  <c:v>0.24146946880688391</c:v>
                </c:pt>
                <c:pt idx="175">
                  <c:v>0.23508191295714043</c:v>
                </c:pt>
                <c:pt idx="176">
                  <c:v>0.24673175575045492</c:v>
                </c:pt>
                <c:pt idx="177">
                  <c:v>0.2491477742842958</c:v>
                </c:pt>
                <c:pt idx="178">
                  <c:v>0.23468475922555032</c:v>
                </c:pt>
                <c:pt idx="179">
                  <c:v>0.24399580782172192</c:v>
                </c:pt>
                <c:pt idx="180">
                  <c:v>0.23503778476474158</c:v>
                </c:pt>
                <c:pt idx="181">
                  <c:v>0.2449666280544982</c:v>
                </c:pt>
                <c:pt idx="182">
                  <c:v>0.26277235368746221</c:v>
                </c:pt>
                <c:pt idx="183">
                  <c:v>0.26543107727949677</c:v>
                </c:pt>
                <c:pt idx="184">
                  <c:v>0.27363892106569576</c:v>
                </c:pt>
                <c:pt idx="185">
                  <c:v>0.2775111699487009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8066176"/>
        <c:axId val="232320384"/>
      </c:lineChart>
      <c:catAx>
        <c:axId val="238066176"/>
        <c:scaling>
          <c:orientation val="minMax"/>
        </c:scaling>
        <c:delete val="0"/>
        <c:axPos val="b"/>
        <c:numFmt formatCode="[$-409]d\-mmm\-yy;@" sourceLinked="1"/>
        <c:majorTickMark val="none"/>
        <c:minorTickMark val="none"/>
        <c:tickLblPos val="none"/>
        <c:crossAx val="232320384"/>
        <c:crosses val="autoZero"/>
        <c:auto val="1"/>
        <c:lblAlgn val="ctr"/>
        <c:lblOffset val="100"/>
        <c:tickLblSkip val="3"/>
        <c:noMultiLvlLbl val="0"/>
      </c:catAx>
      <c:valAx>
        <c:axId val="232320384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crossAx val="238066176"/>
        <c:crosses val="autoZero"/>
        <c:crossBetween val="between"/>
        <c:majorUnit val="0.1"/>
      </c:val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o-RO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EL</a:t>
            </a:r>
            <a:r>
              <a:rPr lang="ro-RO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i="0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(01.01.20</a:t>
            </a:r>
            <a:r>
              <a:rPr lang="ro-RO" sz="900" b="1" i="0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900" b="1" i="0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5-3</a:t>
            </a:r>
            <a:r>
              <a:rPr lang="ro-RO" sz="900" b="1" i="0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n-US" sz="900" b="1" i="0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09.20</a:t>
            </a:r>
            <a:r>
              <a:rPr lang="ro-RO" sz="900" b="1" i="0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900" b="1" i="0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5)</a:t>
            </a:r>
            <a:endParaRPr lang="ro-RO" sz="900" dirty="0" smtClean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tock 2025'!$B$1</c:f>
              <c:strCache>
                <c:ptCount val="1"/>
                <c:pt idx="0">
                  <c:v>TEL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strRef>
              <c:f>'Stock 2025'!$A$2:$A$188</c:f>
              <c:strCache>
                <c:ptCount val="186"/>
                <c:pt idx="0">
                  <c:v>30.12.2024</c:v>
                </c:pt>
                <c:pt idx="1">
                  <c:v>03.01.2025</c:v>
                </c:pt>
                <c:pt idx="2">
                  <c:v>08.01.2025</c:v>
                </c:pt>
                <c:pt idx="3">
                  <c:v>09.01.2025</c:v>
                </c:pt>
                <c:pt idx="4">
                  <c:v>10.01.2025</c:v>
                </c:pt>
                <c:pt idx="5">
                  <c:v>13.01.2025</c:v>
                </c:pt>
                <c:pt idx="6">
                  <c:v>14.01.2025</c:v>
                </c:pt>
                <c:pt idx="7">
                  <c:v>15.01.2025</c:v>
                </c:pt>
                <c:pt idx="8">
                  <c:v>16.01.2025</c:v>
                </c:pt>
                <c:pt idx="9">
                  <c:v>17.01.2025</c:v>
                </c:pt>
                <c:pt idx="10">
                  <c:v>20.01.2025</c:v>
                </c:pt>
                <c:pt idx="11">
                  <c:v>21.01.2025</c:v>
                </c:pt>
                <c:pt idx="12">
                  <c:v>22.01.2025</c:v>
                </c:pt>
                <c:pt idx="13">
                  <c:v>23.01.2025</c:v>
                </c:pt>
                <c:pt idx="14">
                  <c:v>27.01.2025</c:v>
                </c:pt>
                <c:pt idx="15">
                  <c:v>28.01.2025</c:v>
                </c:pt>
                <c:pt idx="16">
                  <c:v>29.01.2025</c:v>
                </c:pt>
                <c:pt idx="17">
                  <c:v>30.01.2025</c:v>
                </c:pt>
                <c:pt idx="18">
                  <c:v>31.01.2025</c:v>
                </c:pt>
                <c:pt idx="19">
                  <c:v>03.02.2025</c:v>
                </c:pt>
                <c:pt idx="20">
                  <c:v>04.02.2025</c:v>
                </c:pt>
                <c:pt idx="21">
                  <c:v>05.02.2025</c:v>
                </c:pt>
                <c:pt idx="22">
                  <c:v>06.02.2025</c:v>
                </c:pt>
                <c:pt idx="23">
                  <c:v>07.02.2025</c:v>
                </c:pt>
                <c:pt idx="24">
                  <c:v>10.02.2025</c:v>
                </c:pt>
                <c:pt idx="25">
                  <c:v>11.02.2025</c:v>
                </c:pt>
                <c:pt idx="26">
                  <c:v>12.02.2025</c:v>
                </c:pt>
                <c:pt idx="27">
                  <c:v>13.02.2025</c:v>
                </c:pt>
                <c:pt idx="28">
                  <c:v>14.02.2025</c:v>
                </c:pt>
                <c:pt idx="29">
                  <c:v>17.02.2025</c:v>
                </c:pt>
                <c:pt idx="30">
                  <c:v>18.02.2025</c:v>
                </c:pt>
                <c:pt idx="31">
                  <c:v>19.02.2025</c:v>
                </c:pt>
                <c:pt idx="32">
                  <c:v>20.02.2025</c:v>
                </c:pt>
                <c:pt idx="33">
                  <c:v>21.02.2025</c:v>
                </c:pt>
                <c:pt idx="34">
                  <c:v>24.02.2025</c:v>
                </c:pt>
                <c:pt idx="35">
                  <c:v>25.02.2025</c:v>
                </c:pt>
                <c:pt idx="36">
                  <c:v>26.02.2025</c:v>
                </c:pt>
                <c:pt idx="37">
                  <c:v>27.02.2025</c:v>
                </c:pt>
                <c:pt idx="38">
                  <c:v>28.02.2025</c:v>
                </c:pt>
                <c:pt idx="39">
                  <c:v>03.03.2025</c:v>
                </c:pt>
                <c:pt idx="40">
                  <c:v>04.03.2025</c:v>
                </c:pt>
                <c:pt idx="41">
                  <c:v>05.03.2025</c:v>
                </c:pt>
                <c:pt idx="42">
                  <c:v>06.03.2025</c:v>
                </c:pt>
                <c:pt idx="43">
                  <c:v>07.03.2025</c:v>
                </c:pt>
                <c:pt idx="44">
                  <c:v>10.03.2025</c:v>
                </c:pt>
                <c:pt idx="45">
                  <c:v>11.03.2025</c:v>
                </c:pt>
                <c:pt idx="46">
                  <c:v>12.03.2025</c:v>
                </c:pt>
                <c:pt idx="47">
                  <c:v>13.03.2025</c:v>
                </c:pt>
                <c:pt idx="48">
                  <c:v>14.03.2025</c:v>
                </c:pt>
                <c:pt idx="49">
                  <c:v>17.03.2025</c:v>
                </c:pt>
                <c:pt idx="50">
                  <c:v>18.03.2025</c:v>
                </c:pt>
                <c:pt idx="51">
                  <c:v>19.03.2025</c:v>
                </c:pt>
                <c:pt idx="52">
                  <c:v>20.03.2025</c:v>
                </c:pt>
                <c:pt idx="53">
                  <c:v>21.03.2025</c:v>
                </c:pt>
                <c:pt idx="54">
                  <c:v>24.03.2025</c:v>
                </c:pt>
                <c:pt idx="55">
                  <c:v>25.03.2025</c:v>
                </c:pt>
                <c:pt idx="56">
                  <c:v>26.03.2025</c:v>
                </c:pt>
                <c:pt idx="57">
                  <c:v>27.03.2025</c:v>
                </c:pt>
                <c:pt idx="58">
                  <c:v>28.03.2025</c:v>
                </c:pt>
                <c:pt idx="59">
                  <c:v>31.03.2025</c:v>
                </c:pt>
                <c:pt idx="60">
                  <c:v>01.04.2025</c:v>
                </c:pt>
                <c:pt idx="61">
                  <c:v>02.04.2025</c:v>
                </c:pt>
                <c:pt idx="62">
                  <c:v>03.04.2025</c:v>
                </c:pt>
                <c:pt idx="63">
                  <c:v>04.04.2025</c:v>
                </c:pt>
                <c:pt idx="64">
                  <c:v>07.04.2025</c:v>
                </c:pt>
                <c:pt idx="65">
                  <c:v>08.04.2025</c:v>
                </c:pt>
                <c:pt idx="66">
                  <c:v>09.04.2025</c:v>
                </c:pt>
                <c:pt idx="67">
                  <c:v>10.04.2025</c:v>
                </c:pt>
                <c:pt idx="68">
                  <c:v>11.04.2025</c:v>
                </c:pt>
                <c:pt idx="69">
                  <c:v>14.04.2025</c:v>
                </c:pt>
                <c:pt idx="70">
                  <c:v>15.04.2025</c:v>
                </c:pt>
                <c:pt idx="71">
                  <c:v>16.04.2025</c:v>
                </c:pt>
                <c:pt idx="72">
                  <c:v>17.04.2025</c:v>
                </c:pt>
                <c:pt idx="73">
                  <c:v>22.04.2025</c:v>
                </c:pt>
                <c:pt idx="74">
                  <c:v>23.04.2025</c:v>
                </c:pt>
                <c:pt idx="75">
                  <c:v>24.04.2025</c:v>
                </c:pt>
                <c:pt idx="76">
                  <c:v>25.04.2025</c:v>
                </c:pt>
                <c:pt idx="77">
                  <c:v>28.04.2025</c:v>
                </c:pt>
                <c:pt idx="78">
                  <c:v>29.04.2025</c:v>
                </c:pt>
                <c:pt idx="79">
                  <c:v>30.04.2025</c:v>
                </c:pt>
                <c:pt idx="80">
                  <c:v>02.05.2025</c:v>
                </c:pt>
                <c:pt idx="81">
                  <c:v>05.05.2025</c:v>
                </c:pt>
                <c:pt idx="82">
                  <c:v>06.05.2025</c:v>
                </c:pt>
                <c:pt idx="83">
                  <c:v>07.05.2025</c:v>
                </c:pt>
                <c:pt idx="84">
                  <c:v>08.05.2025</c:v>
                </c:pt>
                <c:pt idx="85">
                  <c:v>09.05.2025</c:v>
                </c:pt>
                <c:pt idx="86">
                  <c:v>12.05.2025</c:v>
                </c:pt>
                <c:pt idx="87">
                  <c:v>13.05.2025</c:v>
                </c:pt>
                <c:pt idx="88">
                  <c:v>14.05.2025</c:v>
                </c:pt>
                <c:pt idx="89">
                  <c:v>15.05.2025</c:v>
                </c:pt>
                <c:pt idx="90">
                  <c:v>16.05.2025</c:v>
                </c:pt>
                <c:pt idx="91">
                  <c:v>19.05.2025</c:v>
                </c:pt>
                <c:pt idx="92">
                  <c:v>20.05.2025</c:v>
                </c:pt>
                <c:pt idx="93">
                  <c:v>21.05.2025</c:v>
                </c:pt>
                <c:pt idx="94">
                  <c:v>22.05.2025</c:v>
                </c:pt>
                <c:pt idx="95">
                  <c:v>23.05.2025</c:v>
                </c:pt>
                <c:pt idx="96">
                  <c:v>26.05.2025</c:v>
                </c:pt>
                <c:pt idx="97">
                  <c:v>27.05.2025</c:v>
                </c:pt>
                <c:pt idx="98">
                  <c:v>28.05.2025</c:v>
                </c:pt>
                <c:pt idx="99">
                  <c:v>29.05.2025</c:v>
                </c:pt>
                <c:pt idx="100">
                  <c:v>30.05.2025</c:v>
                </c:pt>
                <c:pt idx="101">
                  <c:v>02.06.2025</c:v>
                </c:pt>
                <c:pt idx="102">
                  <c:v>03.06.2025</c:v>
                </c:pt>
                <c:pt idx="103">
                  <c:v>04.06.2025</c:v>
                </c:pt>
                <c:pt idx="104">
                  <c:v>05.06.2025</c:v>
                </c:pt>
                <c:pt idx="105">
                  <c:v>06.06.2025</c:v>
                </c:pt>
                <c:pt idx="106">
                  <c:v>10.06.2025</c:v>
                </c:pt>
                <c:pt idx="107">
                  <c:v>11.06.2025</c:v>
                </c:pt>
                <c:pt idx="108">
                  <c:v>12.06.2025</c:v>
                </c:pt>
                <c:pt idx="109">
                  <c:v>13.06.2025</c:v>
                </c:pt>
                <c:pt idx="110">
                  <c:v>16.06.2025</c:v>
                </c:pt>
                <c:pt idx="111">
                  <c:v>17.06.2025</c:v>
                </c:pt>
                <c:pt idx="112">
                  <c:v>18.06.2025</c:v>
                </c:pt>
                <c:pt idx="113">
                  <c:v>19.06.2025</c:v>
                </c:pt>
                <c:pt idx="114">
                  <c:v>20.06.2025</c:v>
                </c:pt>
                <c:pt idx="115">
                  <c:v>23.06.2025</c:v>
                </c:pt>
                <c:pt idx="116">
                  <c:v>24.06.2025</c:v>
                </c:pt>
                <c:pt idx="117">
                  <c:v>25.06.2025</c:v>
                </c:pt>
                <c:pt idx="118">
                  <c:v>26.06.2025</c:v>
                </c:pt>
                <c:pt idx="119">
                  <c:v>27.06.2025</c:v>
                </c:pt>
                <c:pt idx="120">
                  <c:v>30.06.2025</c:v>
                </c:pt>
                <c:pt idx="121">
                  <c:v>01.07.2025</c:v>
                </c:pt>
                <c:pt idx="122">
                  <c:v>02.07.2025</c:v>
                </c:pt>
                <c:pt idx="123">
                  <c:v>03.07.2025</c:v>
                </c:pt>
                <c:pt idx="124">
                  <c:v>04.07.2025</c:v>
                </c:pt>
                <c:pt idx="125">
                  <c:v>07.07.2025</c:v>
                </c:pt>
                <c:pt idx="126">
                  <c:v>08.07.2025</c:v>
                </c:pt>
                <c:pt idx="127">
                  <c:v>09.07.2025</c:v>
                </c:pt>
                <c:pt idx="128">
                  <c:v>10.07.2025</c:v>
                </c:pt>
                <c:pt idx="129">
                  <c:v>11.07.2025</c:v>
                </c:pt>
                <c:pt idx="130">
                  <c:v>14.07.2025</c:v>
                </c:pt>
                <c:pt idx="131">
                  <c:v>15.07.2025</c:v>
                </c:pt>
                <c:pt idx="132">
                  <c:v>16.07.2025</c:v>
                </c:pt>
                <c:pt idx="133">
                  <c:v>17.07.2025</c:v>
                </c:pt>
                <c:pt idx="134">
                  <c:v>18.07.2025</c:v>
                </c:pt>
                <c:pt idx="135">
                  <c:v>21.07.2025</c:v>
                </c:pt>
                <c:pt idx="136">
                  <c:v>22.07.2025</c:v>
                </c:pt>
                <c:pt idx="137">
                  <c:v>23.07.2025</c:v>
                </c:pt>
                <c:pt idx="138">
                  <c:v>24.07.2025</c:v>
                </c:pt>
                <c:pt idx="139">
                  <c:v>25.07.2025</c:v>
                </c:pt>
                <c:pt idx="140">
                  <c:v>28.07.2025</c:v>
                </c:pt>
                <c:pt idx="141">
                  <c:v>29.07.2025</c:v>
                </c:pt>
                <c:pt idx="142">
                  <c:v>30.07.2025</c:v>
                </c:pt>
                <c:pt idx="143">
                  <c:v>31.07.2025</c:v>
                </c:pt>
                <c:pt idx="144">
                  <c:v>01.08.2025</c:v>
                </c:pt>
                <c:pt idx="145">
                  <c:v>04.08.2025</c:v>
                </c:pt>
                <c:pt idx="146">
                  <c:v>05.08.2025</c:v>
                </c:pt>
                <c:pt idx="147">
                  <c:v>06.08.2025</c:v>
                </c:pt>
                <c:pt idx="148">
                  <c:v>07.08.2025</c:v>
                </c:pt>
                <c:pt idx="149">
                  <c:v>08.08.2025</c:v>
                </c:pt>
                <c:pt idx="150">
                  <c:v>11.08.2025</c:v>
                </c:pt>
                <c:pt idx="151">
                  <c:v>12.08.2025</c:v>
                </c:pt>
                <c:pt idx="152">
                  <c:v>13.08.2025</c:v>
                </c:pt>
                <c:pt idx="153">
                  <c:v>14.08.2025</c:v>
                </c:pt>
                <c:pt idx="154">
                  <c:v>18.08.2025</c:v>
                </c:pt>
                <c:pt idx="155">
                  <c:v>19.08.2025</c:v>
                </c:pt>
                <c:pt idx="156">
                  <c:v>20.08.2025</c:v>
                </c:pt>
                <c:pt idx="157">
                  <c:v>21.08.2025</c:v>
                </c:pt>
                <c:pt idx="158">
                  <c:v>22.08.2025</c:v>
                </c:pt>
                <c:pt idx="159">
                  <c:v>25.08.2025</c:v>
                </c:pt>
                <c:pt idx="160">
                  <c:v>26.08.2025</c:v>
                </c:pt>
                <c:pt idx="161">
                  <c:v>27.08.2025</c:v>
                </c:pt>
                <c:pt idx="162">
                  <c:v>28.08.2025</c:v>
                </c:pt>
                <c:pt idx="163">
                  <c:v>29.08.2025</c:v>
                </c:pt>
                <c:pt idx="164">
                  <c:v>01.09.2025</c:v>
                </c:pt>
                <c:pt idx="165">
                  <c:v>02.09.2025</c:v>
                </c:pt>
                <c:pt idx="166">
                  <c:v>03.09.2025</c:v>
                </c:pt>
                <c:pt idx="167">
                  <c:v>04.09.2025</c:v>
                </c:pt>
                <c:pt idx="168">
                  <c:v>05.09.2025</c:v>
                </c:pt>
                <c:pt idx="169">
                  <c:v>08.09.2025</c:v>
                </c:pt>
                <c:pt idx="170">
                  <c:v>09.09.2025</c:v>
                </c:pt>
                <c:pt idx="171">
                  <c:v>10.09.2025</c:v>
                </c:pt>
                <c:pt idx="172">
                  <c:v>11.09.2025</c:v>
                </c:pt>
                <c:pt idx="173">
                  <c:v>12.09.2025</c:v>
                </c:pt>
                <c:pt idx="174">
                  <c:v>15.09.2025</c:v>
                </c:pt>
                <c:pt idx="175">
                  <c:v>16.09.2025</c:v>
                </c:pt>
                <c:pt idx="176">
                  <c:v>17.09.2025</c:v>
                </c:pt>
                <c:pt idx="177">
                  <c:v>18.09.2025</c:v>
                </c:pt>
                <c:pt idx="178">
                  <c:v>19.09.2025</c:v>
                </c:pt>
                <c:pt idx="179">
                  <c:v>22.09.2025</c:v>
                </c:pt>
                <c:pt idx="180">
                  <c:v>23.09.2025</c:v>
                </c:pt>
                <c:pt idx="181">
                  <c:v>24.09.2025</c:v>
                </c:pt>
                <c:pt idx="182">
                  <c:v>25.09.2025</c:v>
                </c:pt>
                <c:pt idx="183">
                  <c:v>26.09.2025</c:v>
                </c:pt>
                <c:pt idx="184">
                  <c:v>29.09.2025</c:v>
                </c:pt>
                <c:pt idx="185">
                  <c:v>30.09.2025</c:v>
                </c:pt>
              </c:strCache>
            </c:strRef>
          </c:cat>
          <c:val>
            <c:numRef>
              <c:f>'Stock 2025'!$B$2:$B$188</c:f>
              <c:numCache>
                <c:formatCode>#,##0.00</c:formatCode>
                <c:ptCount val="186"/>
                <c:pt idx="0">
                  <c:v>37.700000000000003</c:v>
                </c:pt>
                <c:pt idx="1">
                  <c:v>39.1</c:v>
                </c:pt>
                <c:pt idx="2">
                  <c:v>39.950000000000003</c:v>
                </c:pt>
                <c:pt idx="3">
                  <c:v>41.3</c:v>
                </c:pt>
                <c:pt idx="4">
                  <c:v>42.45</c:v>
                </c:pt>
                <c:pt idx="5">
                  <c:v>42</c:v>
                </c:pt>
                <c:pt idx="6">
                  <c:v>42.2</c:v>
                </c:pt>
                <c:pt idx="7">
                  <c:v>41.85</c:v>
                </c:pt>
                <c:pt idx="8">
                  <c:v>41.85</c:v>
                </c:pt>
                <c:pt idx="9">
                  <c:v>40.299999999999997</c:v>
                </c:pt>
                <c:pt idx="10">
                  <c:v>40.5</c:v>
                </c:pt>
                <c:pt idx="11">
                  <c:v>40.5</c:v>
                </c:pt>
                <c:pt idx="12">
                  <c:v>42.15</c:v>
                </c:pt>
                <c:pt idx="13">
                  <c:v>41.8</c:v>
                </c:pt>
                <c:pt idx="14">
                  <c:v>40.9</c:v>
                </c:pt>
                <c:pt idx="15">
                  <c:v>41.5</c:v>
                </c:pt>
                <c:pt idx="16">
                  <c:v>41.35</c:v>
                </c:pt>
                <c:pt idx="17">
                  <c:v>41.3</c:v>
                </c:pt>
                <c:pt idx="18">
                  <c:v>41.6</c:v>
                </c:pt>
                <c:pt idx="19">
                  <c:v>41.35</c:v>
                </c:pt>
                <c:pt idx="20">
                  <c:v>41.4</c:v>
                </c:pt>
                <c:pt idx="21">
                  <c:v>42.4</c:v>
                </c:pt>
                <c:pt idx="22">
                  <c:v>43.2</c:v>
                </c:pt>
                <c:pt idx="23">
                  <c:v>43.6</c:v>
                </c:pt>
                <c:pt idx="24">
                  <c:v>43.55</c:v>
                </c:pt>
                <c:pt idx="25">
                  <c:v>43.9</c:v>
                </c:pt>
                <c:pt idx="26">
                  <c:v>44.35</c:v>
                </c:pt>
                <c:pt idx="27">
                  <c:v>46.9</c:v>
                </c:pt>
                <c:pt idx="28">
                  <c:v>47.55</c:v>
                </c:pt>
                <c:pt idx="29">
                  <c:v>47.2</c:v>
                </c:pt>
                <c:pt idx="30">
                  <c:v>47.95</c:v>
                </c:pt>
                <c:pt idx="31">
                  <c:v>47.4</c:v>
                </c:pt>
                <c:pt idx="32">
                  <c:v>46.2</c:v>
                </c:pt>
                <c:pt idx="33">
                  <c:v>45.8</c:v>
                </c:pt>
                <c:pt idx="34">
                  <c:v>45.9</c:v>
                </c:pt>
                <c:pt idx="35">
                  <c:v>45.9</c:v>
                </c:pt>
                <c:pt idx="36">
                  <c:v>45.85</c:v>
                </c:pt>
                <c:pt idx="37">
                  <c:v>45.4</c:v>
                </c:pt>
                <c:pt idx="38">
                  <c:v>46.05</c:v>
                </c:pt>
                <c:pt idx="39">
                  <c:v>45.55</c:v>
                </c:pt>
                <c:pt idx="40">
                  <c:v>44.3</c:v>
                </c:pt>
                <c:pt idx="41">
                  <c:v>45.35</c:v>
                </c:pt>
                <c:pt idx="42">
                  <c:v>46.25</c:v>
                </c:pt>
                <c:pt idx="43">
                  <c:v>45.9</c:v>
                </c:pt>
                <c:pt idx="44">
                  <c:v>45.7</c:v>
                </c:pt>
                <c:pt idx="45">
                  <c:v>45.7</c:v>
                </c:pt>
                <c:pt idx="46">
                  <c:v>45.5</c:v>
                </c:pt>
                <c:pt idx="47">
                  <c:v>45.25</c:v>
                </c:pt>
                <c:pt idx="48">
                  <c:v>45.1</c:v>
                </c:pt>
                <c:pt idx="49">
                  <c:v>45.5</c:v>
                </c:pt>
                <c:pt idx="50">
                  <c:v>45.15</c:v>
                </c:pt>
                <c:pt idx="51">
                  <c:v>45.15</c:v>
                </c:pt>
                <c:pt idx="52">
                  <c:v>45.1</c:v>
                </c:pt>
                <c:pt idx="53">
                  <c:v>44.75</c:v>
                </c:pt>
                <c:pt idx="54">
                  <c:v>44.05</c:v>
                </c:pt>
                <c:pt idx="55">
                  <c:v>44.2</c:v>
                </c:pt>
                <c:pt idx="56">
                  <c:v>44</c:v>
                </c:pt>
                <c:pt idx="57">
                  <c:v>43.2</c:v>
                </c:pt>
                <c:pt idx="58">
                  <c:v>42.75</c:v>
                </c:pt>
                <c:pt idx="59">
                  <c:v>42.85</c:v>
                </c:pt>
                <c:pt idx="60">
                  <c:v>43.05</c:v>
                </c:pt>
                <c:pt idx="61">
                  <c:v>43.5</c:v>
                </c:pt>
                <c:pt idx="62">
                  <c:v>43.05</c:v>
                </c:pt>
                <c:pt idx="63">
                  <c:v>41.1</c:v>
                </c:pt>
                <c:pt idx="64">
                  <c:v>39.6</c:v>
                </c:pt>
                <c:pt idx="65">
                  <c:v>41.35</c:v>
                </c:pt>
                <c:pt idx="66">
                  <c:v>39.700000000000003</c:v>
                </c:pt>
                <c:pt idx="67">
                  <c:v>42.85</c:v>
                </c:pt>
                <c:pt idx="68">
                  <c:v>43.5</c:v>
                </c:pt>
                <c:pt idx="69">
                  <c:v>43.5</c:v>
                </c:pt>
                <c:pt idx="70">
                  <c:v>44</c:v>
                </c:pt>
                <c:pt idx="71">
                  <c:v>43.8</c:v>
                </c:pt>
                <c:pt idx="72">
                  <c:v>43.9</c:v>
                </c:pt>
                <c:pt idx="73">
                  <c:v>43.6</c:v>
                </c:pt>
                <c:pt idx="74">
                  <c:v>43.95</c:v>
                </c:pt>
                <c:pt idx="75">
                  <c:v>44.05</c:v>
                </c:pt>
                <c:pt idx="76">
                  <c:v>43.75</c:v>
                </c:pt>
                <c:pt idx="77">
                  <c:v>44.05</c:v>
                </c:pt>
                <c:pt idx="78">
                  <c:v>44.05</c:v>
                </c:pt>
                <c:pt idx="79">
                  <c:v>43.8</c:v>
                </c:pt>
                <c:pt idx="80">
                  <c:v>44.8</c:v>
                </c:pt>
                <c:pt idx="81">
                  <c:v>43</c:v>
                </c:pt>
                <c:pt idx="82">
                  <c:v>43.15</c:v>
                </c:pt>
                <c:pt idx="83">
                  <c:v>42.8</c:v>
                </c:pt>
                <c:pt idx="84">
                  <c:v>42.05</c:v>
                </c:pt>
                <c:pt idx="85">
                  <c:v>43</c:v>
                </c:pt>
                <c:pt idx="86">
                  <c:v>43.6</c:v>
                </c:pt>
                <c:pt idx="87">
                  <c:v>43.5</c:v>
                </c:pt>
                <c:pt idx="88">
                  <c:v>44.65</c:v>
                </c:pt>
                <c:pt idx="89">
                  <c:v>43.5</c:v>
                </c:pt>
                <c:pt idx="90">
                  <c:v>44.45</c:v>
                </c:pt>
                <c:pt idx="91">
                  <c:v>47.05</c:v>
                </c:pt>
                <c:pt idx="92">
                  <c:v>46.35</c:v>
                </c:pt>
                <c:pt idx="93">
                  <c:v>45.9</c:v>
                </c:pt>
                <c:pt idx="94">
                  <c:v>46.4</c:v>
                </c:pt>
                <c:pt idx="95">
                  <c:v>47.1</c:v>
                </c:pt>
                <c:pt idx="96">
                  <c:v>47.05</c:v>
                </c:pt>
                <c:pt idx="97">
                  <c:v>47.5</c:v>
                </c:pt>
                <c:pt idx="98">
                  <c:v>48.4</c:v>
                </c:pt>
                <c:pt idx="99">
                  <c:v>48</c:v>
                </c:pt>
                <c:pt idx="100">
                  <c:v>47.25</c:v>
                </c:pt>
                <c:pt idx="101">
                  <c:v>48</c:v>
                </c:pt>
                <c:pt idx="102">
                  <c:v>49.95</c:v>
                </c:pt>
                <c:pt idx="103">
                  <c:v>49.3</c:v>
                </c:pt>
                <c:pt idx="104">
                  <c:v>49.7</c:v>
                </c:pt>
                <c:pt idx="105">
                  <c:v>49.85</c:v>
                </c:pt>
                <c:pt idx="106">
                  <c:v>49.5</c:v>
                </c:pt>
                <c:pt idx="107">
                  <c:v>49.9</c:v>
                </c:pt>
                <c:pt idx="108">
                  <c:v>50.4</c:v>
                </c:pt>
                <c:pt idx="109">
                  <c:v>50.5</c:v>
                </c:pt>
                <c:pt idx="110">
                  <c:v>50.4</c:v>
                </c:pt>
                <c:pt idx="111">
                  <c:v>50.5</c:v>
                </c:pt>
                <c:pt idx="112">
                  <c:v>52.5</c:v>
                </c:pt>
                <c:pt idx="113">
                  <c:v>53.2</c:v>
                </c:pt>
                <c:pt idx="114">
                  <c:v>53.9</c:v>
                </c:pt>
                <c:pt idx="115">
                  <c:v>55.1</c:v>
                </c:pt>
                <c:pt idx="116">
                  <c:v>55.3</c:v>
                </c:pt>
                <c:pt idx="117">
                  <c:v>55.1</c:v>
                </c:pt>
                <c:pt idx="118">
                  <c:v>55.1</c:v>
                </c:pt>
                <c:pt idx="119">
                  <c:v>55</c:v>
                </c:pt>
                <c:pt idx="120">
                  <c:v>57</c:v>
                </c:pt>
                <c:pt idx="121">
                  <c:v>59.8</c:v>
                </c:pt>
                <c:pt idx="122">
                  <c:v>58</c:v>
                </c:pt>
                <c:pt idx="123">
                  <c:v>59.8</c:v>
                </c:pt>
                <c:pt idx="124">
                  <c:v>61.4</c:v>
                </c:pt>
                <c:pt idx="125">
                  <c:v>63</c:v>
                </c:pt>
                <c:pt idx="126">
                  <c:v>62.2</c:v>
                </c:pt>
                <c:pt idx="127">
                  <c:v>62.6</c:v>
                </c:pt>
                <c:pt idx="128">
                  <c:v>60.5</c:v>
                </c:pt>
                <c:pt idx="129">
                  <c:v>59.8</c:v>
                </c:pt>
                <c:pt idx="130">
                  <c:v>57.6</c:v>
                </c:pt>
                <c:pt idx="131">
                  <c:v>58.7</c:v>
                </c:pt>
                <c:pt idx="132">
                  <c:v>58.3</c:v>
                </c:pt>
                <c:pt idx="133">
                  <c:v>58.4</c:v>
                </c:pt>
                <c:pt idx="134">
                  <c:v>58.8</c:v>
                </c:pt>
                <c:pt idx="135">
                  <c:v>58</c:v>
                </c:pt>
                <c:pt idx="136">
                  <c:v>58</c:v>
                </c:pt>
                <c:pt idx="137">
                  <c:v>59</c:v>
                </c:pt>
                <c:pt idx="138">
                  <c:v>59.2</c:v>
                </c:pt>
                <c:pt idx="139">
                  <c:v>60.1</c:v>
                </c:pt>
                <c:pt idx="140">
                  <c:v>59.9</c:v>
                </c:pt>
                <c:pt idx="141">
                  <c:v>60</c:v>
                </c:pt>
                <c:pt idx="142">
                  <c:v>59.7</c:v>
                </c:pt>
                <c:pt idx="143">
                  <c:v>60.1</c:v>
                </c:pt>
                <c:pt idx="144">
                  <c:v>59.8</c:v>
                </c:pt>
                <c:pt idx="145">
                  <c:v>60.1</c:v>
                </c:pt>
                <c:pt idx="146">
                  <c:v>60.2</c:v>
                </c:pt>
                <c:pt idx="147">
                  <c:v>60.2</c:v>
                </c:pt>
                <c:pt idx="148">
                  <c:v>60.7</c:v>
                </c:pt>
                <c:pt idx="149">
                  <c:v>60.3</c:v>
                </c:pt>
                <c:pt idx="150">
                  <c:v>60.4</c:v>
                </c:pt>
                <c:pt idx="151">
                  <c:v>59.9</c:v>
                </c:pt>
                <c:pt idx="152">
                  <c:v>59.9</c:v>
                </c:pt>
                <c:pt idx="153">
                  <c:v>59.1</c:v>
                </c:pt>
                <c:pt idx="154">
                  <c:v>58.2</c:v>
                </c:pt>
                <c:pt idx="155">
                  <c:v>58.7</c:v>
                </c:pt>
                <c:pt idx="156">
                  <c:v>58.6</c:v>
                </c:pt>
                <c:pt idx="157">
                  <c:v>58.5</c:v>
                </c:pt>
                <c:pt idx="158">
                  <c:v>58.4</c:v>
                </c:pt>
                <c:pt idx="159">
                  <c:v>58.4</c:v>
                </c:pt>
                <c:pt idx="160">
                  <c:v>58.5</c:v>
                </c:pt>
                <c:pt idx="161">
                  <c:v>58.7</c:v>
                </c:pt>
                <c:pt idx="162">
                  <c:v>58.4</c:v>
                </c:pt>
                <c:pt idx="163">
                  <c:v>57.6</c:v>
                </c:pt>
                <c:pt idx="164">
                  <c:v>57</c:v>
                </c:pt>
                <c:pt idx="165">
                  <c:v>56.2</c:v>
                </c:pt>
                <c:pt idx="166">
                  <c:v>57.5</c:v>
                </c:pt>
                <c:pt idx="167">
                  <c:v>56.4</c:v>
                </c:pt>
                <c:pt idx="168">
                  <c:v>56.5</c:v>
                </c:pt>
                <c:pt idx="169">
                  <c:v>56.6</c:v>
                </c:pt>
                <c:pt idx="170">
                  <c:v>56.5</c:v>
                </c:pt>
                <c:pt idx="171">
                  <c:v>56.6</c:v>
                </c:pt>
                <c:pt idx="172">
                  <c:v>56.6</c:v>
                </c:pt>
                <c:pt idx="173">
                  <c:v>56.6</c:v>
                </c:pt>
                <c:pt idx="174">
                  <c:v>56.8</c:v>
                </c:pt>
                <c:pt idx="175">
                  <c:v>56.8</c:v>
                </c:pt>
                <c:pt idx="176">
                  <c:v>57.2</c:v>
                </c:pt>
                <c:pt idx="177">
                  <c:v>57.8</c:v>
                </c:pt>
                <c:pt idx="178">
                  <c:v>60.4</c:v>
                </c:pt>
                <c:pt idx="179">
                  <c:v>59.6</c:v>
                </c:pt>
                <c:pt idx="180">
                  <c:v>59.5</c:v>
                </c:pt>
                <c:pt idx="181">
                  <c:v>59.6</c:v>
                </c:pt>
                <c:pt idx="182">
                  <c:v>59.1</c:v>
                </c:pt>
                <c:pt idx="183">
                  <c:v>59.4</c:v>
                </c:pt>
                <c:pt idx="184">
                  <c:v>60.5</c:v>
                </c:pt>
                <c:pt idx="185">
                  <c:v>61.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8066688"/>
        <c:axId val="232323264"/>
      </c:lineChart>
      <c:catAx>
        <c:axId val="238066688"/>
        <c:scaling>
          <c:orientation val="minMax"/>
        </c:scaling>
        <c:delete val="0"/>
        <c:axPos val="b"/>
        <c:numFmt formatCode="[$-409]d\-mmm\-yy;@" sourceLinked="1"/>
        <c:majorTickMark val="none"/>
        <c:minorTickMark val="none"/>
        <c:tickLblPos val="none"/>
        <c:crossAx val="232323264"/>
        <c:crosses val="autoZero"/>
        <c:auto val="1"/>
        <c:lblAlgn val="ctr"/>
        <c:lblOffset val="100"/>
        <c:noMultiLvlLbl val="0"/>
      </c:catAx>
      <c:valAx>
        <c:axId val="232323264"/>
        <c:scaling>
          <c:orientation val="minMax"/>
          <c:min val="10"/>
        </c:scaling>
        <c:delete val="0"/>
        <c:axPos val="l"/>
        <c:numFmt formatCode="#,##0\ &quot;lei&quot;" sourceLinked="0"/>
        <c:majorTickMark val="none"/>
        <c:minorTickMark val="none"/>
        <c:tickLblPos val="nextTo"/>
        <c:txPr>
          <a:bodyPr/>
          <a:lstStyle/>
          <a:p>
            <a: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o-RO"/>
          </a:p>
        </c:txPr>
        <c:crossAx val="238066688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solidFill>
        <a:schemeClr val="accent1"/>
      </a:solidFill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sz="10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TEL</a:t>
            </a:r>
            <a:r>
              <a:rPr lang="ro-RO" sz="10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b="1" i="1" u="none" strike="noStrike" kern="1200" baseline="0" dirty="0" smtClean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01.01.20</a:t>
            </a:r>
            <a:r>
              <a:rPr lang="ro-RO" sz="1000" b="1" i="1" u="none" strike="noStrike" kern="1200" baseline="0" dirty="0" smtClean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2</a:t>
            </a:r>
            <a:r>
              <a:rPr lang="en-US" sz="1000" b="1" i="1" u="none" strike="noStrike" kern="1200" baseline="0" dirty="0" smtClean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3</a:t>
            </a:r>
            <a:r>
              <a:rPr lang="ro-RO" sz="1000" b="1" i="1" u="none" strike="noStrike" kern="1200" baseline="0" dirty="0" smtClean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12</a:t>
            </a:r>
            <a:r>
              <a:rPr lang="en-US" sz="1000" b="1" i="1" u="none" strike="noStrike" kern="1200" baseline="0" dirty="0" smtClean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20</a:t>
            </a:r>
            <a:r>
              <a:rPr lang="ro-RO" sz="1000" b="1" i="1" u="none" strike="noStrike" kern="1200" baseline="0" dirty="0" smtClean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4</a:t>
            </a:r>
            <a:r>
              <a:rPr lang="en-US" sz="1000" b="1" i="1" u="none" strike="noStrike" kern="1200" baseline="0" dirty="0" smtClean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lang="ro-RO" sz="1000" b="1" i="1" u="none" strike="noStrike" kern="1200" baseline="0" dirty="0" smtClean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tock 2024'!$B$1</c:f>
              <c:strCache>
                <c:ptCount val="1"/>
                <c:pt idx="0">
                  <c:v>TEL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strRef>
              <c:f>'Stock 2024'!$A$2:$A$752</c:f>
              <c:strCache>
                <c:ptCount val="750"/>
                <c:pt idx="0">
                  <c:v>30-Dec-21</c:v>
                </c:pt>
                <c:pt idx="1">
                  <c:v>03.01.2022</c:v>
                </c:pt>
                <c:pt idx="2">
                  <c:v>04.01.2022</c:v>
                </c:pt>
                <c:pt idx="3">
                  <c:v>05.01.2022</c:v>
                </c:pt>
                <c:pt idx="4">
                  <c:v>06.01.2022</c:v>
                </c:pt>
                <c:pt idx="5">
                  <c:v>07.01.2022</c:v>
                </c:pt>
                <c:pt idx="6">
                  <c:v>10.01.2022</c:v>
                </c:pt>
                <c:pt idx="7">
                  <c:v>11.01.2022</c:v>
                </c:pt>
                <c:pt idx="8">
                  <c:v>12.01.2022</c:v>
                </c:pt>
                <c:pt idx="9">
                  <c:v>13.01.2022</c:v>
                </c:pt>
                <c:pt idx="10">
                  <c:v>14.01.2022</c:v>
                </c:pt>
                <c:pt idx="11">
                  <c:v>17.01.2022</c:v>
                </c:pt>
                <c:pt idx="12">
                  <c:v>18.01.2022</c:v>
                </c:pt>
                <c:pt idx="13">
                  <c:v>19.01.2022</c:v>
                </c:pt>
                <c:pt idx="14">
                  <c:v>20.01.2022</c:v>
                </c:pt>
                <c:pt idx="15">
                  <c:v>21.01.2022</c:v>
                </c:pt>
                <c:pt idx="16">
                  <c:v>25.01.2022</c:v>
                </c:pt>
                <c:pt idx="17">
                  <c:v>26.01.2022</c:v>
                </c:pt>
                <c:pt idx="18">
                  <c:v>27.01.2022</c:v>
                </c:pt>
                <c:pt idx="19">
                  <c:v>28.01.2022</c:v>
                </c:pt>
                <c:pt idx="20">
                  <c:v>31.01.2022</c:v>
                </c:pt>
                <c:pt idx="21">
                  <c:v>01.02.2022</c:v>
                </c:pt>
                <c:pt idx="22">
                  <c:v>02.02.2022</c:v>
                </c:pt>
                <c:pt idx="23">
                  <c:v>03.02.2022</c:v>
                </c:pt>
                <c:pt idx="24">
                  <c:v>04.02.2022</c:v>
                </c:pt>
                <c:pt idx="25">
                  <c:v>07.02.2022</c:v>
                </c:pt>
                <c:pt idx="26">
                  <c:v>08.02.2022</c:v>
                </c:pt>
                <c:pt idx="27">
                  <c:v>09.02.2022</c:v>
                </c:pt>
                <c:pt idx="28">
                  <c:v>10.02.2022</c:v>
                </c:pt>
                <c:pt idx="29">
                  <c:v>11.02.2022</c:v>
                </c:pt>
                <c:pt idx="30">
                  <c:v>14.02.2022</c:v>
                </c:pt>
                <c:pt idx="31">
                  <c:v>15.02.2022</c:v>
                </c:pt>
                <c:pt idx="32">
                  <c:v>16.02.2022</c:v>
                </c:pt>
                <c:pt idx="33">
                  <c:v>17.02.2022</c:v>
                </c:pt>
                <c:pt idx="34">
                  <c:v>18.02.2022</c:v>
                </c:pt>
                <c:pt idx="35">
                  <c:v>21.02.2022</c:v>
                </c:pt>
                <c:pt idx="36">
                  <c:v>22.02.2022</c:v>
                </c:pt>
                <c:pt idx="37">
                  <c:v>23.02.2022</c:v>
                </c:pt>
                <c:pt idx="38">
                  <c:v>24.02.2022</c:v>
                </c:pt>
                <c:pt idx="39">
                  <c:v>25.02.2022</c:v>
                </c:pt>
                <c:pt idx="40">
                  <c:v>28.02.2022</c:v>
                </c:pt>
                <c:pt idx="41">
                  <c:v>01.03.2022</c:v>
                </c:pt>
                <c:pt idx="42">
                  <c:v>02.03.2022</c:v>
                </c:pt>
                <c:pt idx="43">
                  <c:v>03.03.2022</c:v>
                </c:pt>
                <c:pt idx="44">
                  <c:v>04.03.2022</c:v>
                </c:pt>
                <c:pt idx="45">
                  <c:v>07.03.2022</c:v>
                </c:pt>
                <c:pt idx="46">
                  <c:v>08.03.2022</c:v>
                </c:pt>
                <c:pt idx="47">
                  <c:v>09.03.2022</c:v>
                </c:pt>
                <c:pt idx="48">
                  <c:v>10.03.2022</c:v>
                </c:pt>
                <c:pt idx="49">
                  <c:v>11.03.2022</c:v>
                </c:pt>
                <c:pt idx="50">
                  <c:v>14.03.2022</c:v>
                </c:pt>
                <c:pt idx="51">
                  <c:v>15.03.2022</c:v>
                </c:pt>
                <c:pt idx="52">
                  <c:v>16.03.2022</c:v>
                </c:pt>
                <c:pt idx="53">
                  <c:v>17.03.2022</c:v>
                </c:pt>
                <c:pt idx="54">
                  <c:v>18.03.2022</c:v>
                </c:pt>
                <c:pt idx="55">
                  <c:v>21.03.2022</c:v>
                </c:pt>
                <c:pt idx="56">
                  <c:v>22.03.2022</c:v>
                </c:pt>
                <c:pt idx="57">
                  <c:v>23.03.2022</c:v>
                </c:pt>
                <c:pt idx="58">
                  <c:v>24.03.2022</c:v>
                </c:pt>
                <c:pt idx="59">
                  <c:v>25.03.2022</c:v>
                </c:pt>
                <c:pt idx="60">
                  <c:v>28.03.2022</c:v>
                </c:pt>
                <c:pt idx="61">
                  <c:v>29.03.2022</c:v>
                </c:pt>
                <c:pt idx="62">
                  <c:v>30.03.2022</c:v>
                </c:pt>
                <c:pt idx="63">
                  <c:v>31.03.2022</c:v>
                </c:pt>
                <c:pt idx="64">
                  <c:v>01.04.2022</c:v>
                </c:pt>
                <c:pt idx="65">
                  <c:v>04.04.2022</c:v>
                </c:pt>
                <c:pt idx="66">
                  <c:v>05.04.2022</c:v>
                </c:pt>
                <c:pt idx="67">
                  <c:v>06.04.2022</c:v>
                </c:pt>
                <c:pt idx="68">
                  <c:v>07.04.2022</c:v>
                </c:pt>
                <c:pt idx="69">
                  <c:v>08.04.2022</c:v>
                </c:pt>
                <c:pt idx="70">
                  <c:v>11.04.2022</c:v>
                </c:pt>
                <c:pt idx="71">
                  <c:v>12.04.2022</c:v>
                </c:pt>
                <c:pt idx="72">
                  <c:v>13.04.2022</c:v>
                </c:pt>
                <c:pt idx="73">
                  <c:v>14.04.2022</c:v>
                </c:pt>
                <c:pt idx="74">
                  <c:v>15.04.2022</c:v>
                </c:pt>
                <c:pt idx="75">
                  <c:v>18.04.2022</c:v>
                </c:pt>
                <c:pt idx="76">
                  <c:v>19.04.2022</c:v>
                </c:pt>
                <c:pt idx="77">
                  <c:v>20.04.2022</c:v>
                </c:pt>
                <c:pt idx="78">
                  <c:v>21.04.2022</c:v>
                </c:pt>
                <c:pt idx="79">
                  <c:v>26.04.2022</c:v>
                </c:pt>
                <c:pt idx="80">
                  <c:v>27.04.2022</c:v>
                </c:pt>
                <c:pt idx="81">
                  <c:v>28.04.2022</c:v>
                </c:pt>
                <c:pt idx="82">
                  <c:v>29.04.2022</c:v>
                </c:pt>
                <c:pt idx="83">
                  <c:v>02.05.2022</c:v>
                </c:pt>
                <c:pt idx="84">
                  <c:v>03.05.2022</c:v>
                </c:pt>
                <c:pt idx="85">
                  <c:v>04.05.2022</c:v>
                </c:pt>
                <c:pt idx="86">
                  <c:v>05.05.2022</c:v>
                </c:pt>
                <c:pt idx="87">
                  <c:v>06.05.2022</c:v>
                </c:pt>
                <c:pt idx="88">
                  <c:v>09.05.2022</c:v>
                </c:pt>
                <c:pt idx="89">
                  <c:v>10.05.2022</c:v>
                </c:pt>
                <c:pt idx="90">
                  <c:v>11.05.2022</c:v>
                </c:pt>
                <c:pt idx="91">
                  <c:v>12.05.2022</c:v>
                </c:pt>
                <c:pt idx="92">
                  <c:v>13.05.2022</c:v>
                </c:pt>
                <c:pt idx="93">
                  <c:v>16.05.2022</c:v>
                </c:pt>
                <c:pt idx="94">
                  <c:v>17.05.2022</c:v>
                </c:pt>
                <c:pt idx="95">
                  <c:v>18.05.2022</c:v>
                </c:pt>
                <c:pt idx="96">
                  <c:v>19.05.2022</c:v>
                </c:pt>
                <c:pt idx="97">
                  <c:v>20.05.2022</c:v>
                </c:pt>
                <c:pt idx="98">
                  <c:v>23.05.2022</c:v>
                </c:pt>
                <c:pt idx="99">
                  <c:v>24.05.2022</c:v>
                </c:pt>
                <c:pt idx="100">
                  <c:v>25.05.2022</c:v>
                </c:pt>
                <c:pt idx="101">
                  <c:v>26.05.2022</c:v>
                </c:pt>
                <c:pt idx="102">
                  <c:v>27.05.2022</c:v>
                </c:pt>
                <c:pt idx="103">
                  <c:v>30.05.2022</c:v>
                </c:pt>
                <c:pt idx="104">
                  <c:v>31.05.2022</c:v>
                </c:pt>
                <c:pt idx="105">
                  <c:v>02.06.2022</c:v>
                </c:pt>
                <c:pt idx="106">
                  <c:v>03.06.2022</c:v>
                </c:pt>
                <c:pt idx="107">
                  <c:v>06.06.2022</c:v>
                </c:pt>
                <c:pt idx="108">
                  <c:v>07.06.2022</c:v>
                </c:pt>
                <c:pt idx="109">
                  <c:v>08.06.2022</c:v>
                </c:pt>
                <c:pt idx="110">
                  <c:v>09.06.2022</c:v>
                </c:pt>
                <c:pt idx="111">
                  <c:v>10.06.2022</c:v>
                </c:pt>
                <c:pt idx="112">
                  <c:v>14.06.2022</c:v>
                </c:pt>
                <c:pt idx="113">
                  <c:v>15.06.2022</c:v>
                </c:pt>
                <c:pt idx="114">
                  <c:v>16.06.2022</c:v>
                </c:pt>
                <c:pt idx="115">
                  <c:v>17.06.2022</c:v>
                </c:pt>
                <c:pt idx="116">
                  <c:v>20.06.2022</c:v>
                </c:pt>
                <c:pt idx="117">
                  <c:v>21.06.2022</c:v>
                </c:pt>
                <c:pt idx="118">
                  <c:v>22.06.2022</c:v>
                </c:pt>
                <c:pt idx="119">
                  <c:v>23.06.2022</c:v>
                </c:pt>
                <c:pt idx="120">
                  <c:v>24.06.2022</c:v>
                </c:pt>
                <c:pt idx="121">
                  <c:v>27.06.2022</c:v>
                </c:pt>
                <c:pt idx="122">
                  <c:v>28.06.2022</c:v>
                </c:pt>
                <c:pt idx="123">
                  <c:v>29.06.2022</c:v>
                </c:pt>
                <c:pt idx="124">
                  <c:v>30.06.2022</c:v>
                </c:pt>
                <c:pt idx="125">
                  <c:v>01.07.2022</c:v>
                </c:pt>
                <c:pt idx="126">
                  <c:v>04.07.2022</c:v>
                </c:pt>
                <c:pt idx="127">
                  <c:v>05.07.2022</c:v>
                </c:pt>
                <c:pt idx="128">
                  <c:v>06.07.2022</c:v>
                </c:pt>
                <c:pt idx="129">
                  <c:v>07.07.2022</c:v>
                </c:pt>
                <c:pt idx="130">
                  <c:v>08.07.2022</c:v>
                </c:pt>
                <c:pt idx="131">
                  <c:v>11.07.2022</c:v>
                </c:pt>
                <c:pt idx="132">
                  <c:v>12.07.2022</c:v>
                </c:pt>
                <c:pt idx="133">
                  <c:v>13.07.2022</c:v>
                </c:pt>
                <c:pt idx="134">
                  <c:v>14.07.2022</c:v>
                </c:pt>
                <c:pt idx="135">
                  <c:v>15.07.2022</c:v>
                </c:pt>
                <c:pt idx="136">
                  <c:v>18.07.2022</c:v>
                </c:pt>
                <c:pt idx="137">
                  <c:v>19.07.2022</c:v>
                </c:pt>
                <c:pt idx="138">
                  <c:v>20.07.2022</c:v>
                </c:pt>
                <c:pt idx="139">
                  <c:v>21.07.2022</c:v>
                </c:pt>
                <c:pt idx="140">
                  <c:v>22.07.2022</c:v>
                </c:pt>
                <c:pt idx="141">
                  <c:v>25.07.2022</c:v>
                </c:pt>
                <c:pt idx="142">
                  <c:v>26.07.2022</c:v>
                </c:pt>
                <c:pt idx="143">
                  <c:v>27.07.2022</c:v>
                </c:pt>
                <c:pt idx="144">
                  <c:v>28.07.2022</c:v>
                </c:pt>
                <c:pt idx="145">
                  <c:v>29.07.2022</c:v>
                </c:pt>
                <c:pt idx="146">
                  <c:v>01.08.2022</c:v>
                </c:pt>
                <c:pt idx="147">
                  <c:v>02.08.2022</c:v>
                </c:pt>
                <c:pt idx="148">
                  <c:v>03.08.2022</c:v>
                </c:pt>
                <c:pt idx="149">
                  <c:v>04.08.2022</c:v>
                </c:pt>
                <c:pt idx="150">
                  <c:v>05.08.2022</c:v>
                </c:pt>
                <c:pt idx="151">
                  <c:v>08.08.2022</c:v>
                </c:pt>
                <c:pt idx="152">
                  <c:v>09.08.2022</c:v>
                </c:pt>
                <c:pt idx="153">
                  <c:v>10.08.2022</c:v>
                </c:pt>
                <c:pt idx="154">
                  <c:v>11.08.2022</c:v>
                </c:pt>
                <c:pt idx="155">
                  <c:v>12.08.2022</c:v>
                </c:pt>
                <c:pt idx="156">
                  <c:v>16.08.2022</c:v>
                </c:pt>
                <c:pt idx="157">
                  <c:v>17.08.2022</c:v>
                </c:pt>
                <c:pt idx="158">
                  <c:v>18.08.2022</c:v>
                </c:pt>
                <c:pt idx="159">
                  <c:v>19.08.2022</c:v>
                </c:pt>
                <c:pt idx="160">
                  <c:v>22.08.2022</c:v>
                </c:pt>
                <c:pt idx="161">
                  <c:v>23.08.2022</c:v>
                </c:pt>
                <c:pt idx="162">
                  <c:v>24.08.2022</c:v>
                </c:pt>
                <c:pt idx="163">
                  <c:v>25.08.2022</c:v>
                </c:pt>
                <c:pt idx="164">
                  <c:v>26.08.2022</c:v>
                </c:pt>
                <c:pt idx="165">
                  <c:v>29.08.2022</c:v>
                </c:pt>
                <c:pt idx="166">
                  <c:v>30.08.2022</c:v>
                </c:pt>
                <c:pt idx="167">
                  <c:v>31.08.2022</c:v>
                </c:pt>
                <c:pt idx="168">
                  <c:v>01.09.2022</c:v>
                </c:pt>
                <c:pt idx="169">
                  <c:v>02.09.2022</c:v>
                </c:pt>
                <c:pt idx="170">
                  <c:v>05.09.2022</c:v>
                </c:pt>
                <c:pt idx="171">
                  <c:v>06.09.2022</c:v>
                </c:pt>
                <c:pt idx="172">
                  <c:v>07.09.2022</c:v>
                </c:pt>
                <c:pt idx="173">
                  <c:v>08.09.2022</c:v>
                </c:pt>
                <c:pt idx="174">
                  <c:v>09.09.2022</c:v>
                </c:pt>
                <c:pt idx="175">
                  <c:v>12.09.2022</c:v>
                </c:pt>
                <c:pt idx="176">
                  <c:v>13.09.2022</c:v>
                </c:pt>
                <c:pt idx="177">
                  <c:v>14.09.2022</c:v>
                </c:pt>
                <c:pt idx="178">
                  <c:v>15.09.2022</c:v>
                </c:pt>
                <c:pt idx="179">
                  <c:v>16.09.2022</c:v>
                </c:pt>
                <c:pt idx="180">
                  <c:v>19.09.2022</c:v>
                </c:pt>
                <c:pt idx="181">
                  <c:v>20.09.2022</c:v>
                </c:pt>
                <c:pt idx="182">
                  <c:v>21.09.2022</c:v>
                </c:pt>
                <c:pt idx="183">
                  <c:v>22.09.2022</c:v>
                </c:pt>
                <c:pt idx="184">
                  <c:v>23.09.2022</c:v>
                </c:pt>
                <c:pt idx="185">
                  <c:v>26.09.2022</c:v>
                </c:pt>
                <c:pt idx="186">
                  <c:v>27.09.2022</c:v>
                </c:pt>
                <c:pt idx="187">
                  <c:v>28.09.2022</c:v>
                </c:pt>
                <c:pt idx="188">
                  <c:v>29.09.2022</c:v>
                </c:pt>
                <c:pt idx="189">
                  <c:v>30.09.2022</c:v>
                </c:pt>
                <c:pt idx="190">
                  <c:v>03.10.2022</c:v>
                </c:pt>
                <c:pt idx="191">
                  <c:v>04.10.2022</c:v>
                </c:pt>
                <c:pt idx="192">
                  <c:v>05.10.2022</c:v>
                </c:pt>
                <c:pt idx="193">
                  <c:v>06.10.2022</c:v>
                </c:pt>
                <c:pt idx="194">
                  <c:v>07.10.2022</c:v>
                </c:pt>
                <c:pt idx="195">
                  <c:v>10.10.2022</c:v>
                </c:pt>
                <c:pt idx="196">
                  <c:v>11.10.2022</c:v>
                </c:pt>
                <c:pt idx="197">
                  <c:v>12.10.2022</c:v>
                </c:pt>
                <c:pt idx="198">
                  <c:v>13.10.2022</c:v>
                </c:pt>
                <c:pt idx="199">
                  <c:v>14.10.2022</c:v>
                </c:pt>
                <c:pt idx="200">
                  <c:v>17.10.2022</c:v>
                </c:pt>
                <c:pt idx="201">
                  <c:v>18.10.2022</c:v>
                </c:pt>
                <c:pt idx="202">
                  <c:v>19.10.2022</c:v>
                </c:pt>
                <c:pt idx="203">
                  <c:v>20.10.2022</c:v>
                </c:pt>
                <c:pt idx="204">
                  <c:v>21.10.2022</c:v>
                </c:pt>
                <c:pt idx="205">
                  <c:v>24.10.2022</c:v>
                </c:pt>
                <c:pt idx="206">
                  <c:v>25.10.2022</c:v>
                </c:pt>
                <c:pt idx="207">
                  <c:v>26.10.2022</c:v>
                </c:pt>
                <c:pt idx="208">
                  <c:v>27.10.2022</c:v>
                </c:pt>
                <c:pt idx="209">
                  <c:v>28.10.2022</c:v>
                </c:pt>
                <c:pt idx="210">
                  <c:v>31.10.2022</c:v>
                </c:pt>
                <c:pt idx="211">
                  <c:v>01.11.2022</c:v>
                </c:pt>
                <c:pt idx="212">
                  <c:v>02.11.2022</c:v>
                </c:pt>
                <c:pt idx="213">
                  <c:v>03.11.2022</c:v>
                </c:pt>
                <c:pt idx="214">
                  <c:v>04.11.2022</c:v>
                </c:pt>
                <c:pt idx="215">
                  <c:v>07.11.2022</c:v>
                </c:pt>
                <c:pt idx="216">
                  <c:v>08.11.2022</c:v>
                </c:pt>
                <c:pt idx="217">
                  <c:v>09.11.2022</c:v>
                </c:pt>
                <c:pt idx="218">
                  <c:v>10.11.2022</c:v>
                </c:pt>
                <c:pt idx="219">
                  <c:v>11.11.2022</c:v>
                </c:pt>
                <c:pt idx="220">
                  <c:v>14.11.2022</c:v>
                </c:pt>
                <c:pt idx="221">
                  <c:v>15.11.2022</c:v>
                </c:pt>
                <c:pt idx="222">
                  <c:v>16.11.2022</c:v>
                </c:pt>
                <c:pt idx="223">
                  <c:v>17.11.2022</c:v>
                </c:pt>
                <c:pt idx="224">
                  <c:v>18.11.2022</c:v>
                </c:pt>
                <c:pt idx="225">
                  <c:v>21.11.2022</c:v>
                </c:pt>
                <c:pt idx="226">
                  <c:v>22.11.2022</c:v>
                </c:pt>
                <c:pt idx="227">
                  <c:v>23.11.2022</c:v>
                </c:pt>
                <c:pt idx="228">
                  <c:v>24.11.2022</c:v>
                </c:pt>
                <c:pt idx="229">
                  <c:v>25.11.2022</c:v>
                </c:pt>
                <c:pt idx="230">
                  <c:v>28.11.2022</c:v>
                </c:pt>
                <c:pt idx="231">
                  <c:v>29.11.2022</c:v>
                </c:pt>
                <c:pt idx="232">
                  <c:v>02.12.2022</c:v>
                </c:pt>
                <c:pt idx="233">
                  <c:v>05.12.2022</c:v>
                </c:pt>
                <c:pt idx="234">
                  <c:v>06.12.2022</c:v>
                </c:pt>
                <c:pt idx="235">
                  <c:v>07.12.2022</c:v>
                </c:pt>
                <c:pt idx="236">
                  <c:v>08.12.2022</c:v>
                </c:pt>
                <c:pt idx="237">
                  <c:v>09.12.2022</c:v>
                </c:pt>
                <c:pt idx="238">
                  <c:v>12.12.2022</c:v>
                </c:pt>
                <c:pt idx="239">
                  <c:v>13.12.2022</c:v>
                </c:pt>
                <c:pt idx="240">
                  <c:v>14.12.2022</c:v>
                </c:pt>
                <c:pt idx="241">
                  <c:v>15.12.2022</c:v>
                </c:pt>
                <c:pt idx="242">
                  <c:v>16.12.2022</c:v>
                </c:pt>
                <c:pt idx="243">
                  <c:v>19.12.2022</c:v>
                </c:pt>
                <c:pt idx="244">
                  <c:v>20.12.2022</c:v>
                </c:pt>
                <c:pt idx="245">
                  <c:v>21.12.2022</c:v>
                </c:pt>
                <c:pt idx="246">
                  <c:v>22.12.2022</c:v>
                </c:pt>
                <c:pt idx="247">
                  <c:v>23.12.2022</c:v>
                </c:pt>
                <c:pt idx="248">
                  <c:v>27.12.2022</c:v>
                </c:pt>
                <c:pt idx="249">
                  <c:v>28.12.2022</c:v>
                </c:pt>
                <c:pt idx="250">
                  <c:v>29.12.2022</c:v>
                </c:pt>
                <c:pt idx="251">
                  <c:v>30.12.2022</c:v>
                </c:pt>
                <c:pt idx="252">
                  <c:v>03.01.2023</c:v>
                </c:pt>
                <c:pt idx="253">
                  <c:v>04.01.2023</c:v>
                </c:pt>
                <c:pt idx="254">
                  <c:v>05.01.2023</c:v>
                </c:pt>
                <c:pt idx="255">
                  <c:v>06.01.2023</c:v>
                </c:pt>
                <c:pt idx="256">
                  <c:v>09.01.2023</c:v>
                </c:pt>
                <c:pt idx="257">
                  <c:v>10.01.2023</c:v>
                </c:pt>
                <c:pt idx="258">
                  <c:v>11.01.2023</c:v>
                </c:pt>
                <c:pt idx="259">
                  <c:v>12.01.2023</c:v>
                </c:pt>
                <c:pt idx="260">
                  <c:v>13.01.2023</c:v>
                </c:pt>
                <c:pt idx="261">
                  <c:v>16.01.2023</c:v>
                </c:pt>
                <c:pt idx="262">
                  <c:v>17.01.2023</c:v>
                </c:pt>
                <c:pt idx="263">
                  <c:v>18.01.2023</c:v>
                </c:pt>
                <c:pt idx="264">
                  <c:v>19.01.2023</c:v>
                </c:pt>
                <c:pt idx="265">
                  <c:v>20.01.2023</c:v>
                </c:pt>
                <c:pt idx="266">
                  <c:v>23.01.2023</c:v>
                </c:pt>
                <c:pt idx="267">
                  <c:v>25.01.2023</c:v>
                </c:pt>
                <c:pt idx="268">
                  <c:v>26.01.2023</c:v>
                </c:pt>
                <c:pt idx="269">
                  <c:v>27.01.2023</c:v>
                </c:pt>
                <c:pt idx="270">
                  <c:v>30.01.2023</c:v>
                </c:pt>
                <c:pt idx="271">
                  <c:v>31.01.2023</c:v>
                </c:pt>
                <c:pt idx="272">
                  <c:v>01.02.2023</c:v>
                </c:pt>
                <c:pt idx="273">
                  <c:v>02.02.2023</c:v>
                </c:pt>
                <c:pt idx="274">
                  <c:v>03.02.2023</c:v>
                </c:pt>
                <c:pt idx="275">
                  <c:v>06.02.2023</c:v>
                </c:pt>
                <c:pt idx="276">
                  <c:v>07.02.2023</c:v>
                </c:pt>
                <c:pt idx="277">
                  <c:v>08.02.2023</c:v>
                </c:pt>
                <c:pt idx="278">
                  <c:v>09.02.2023</c:v>
                </c:pt>
                <c:pt idx="279">
                  <c:v>10.02.2023</c:v>
                </c:pt>
                <c:pt idx="280">
                  <c:v>13.02.2023</c:v>
                </c:pt>
                <c:pt idx="281">
                  <c:v>14.02.2023</c:v>
                </c:pt>
                <c:pt idx="282">
                  <c:v>15.02.2023</c:v>
                </c:pt>
                <c:pt idx="283">
                  <c:v>16.02.2023</c:v>
                </c:pt>
                <c:pt idx="284">
                  <c:v>17.02.2023</c:v>
                </c:pt>
                <c:pt idx="285">
                  <c:v>20.02.2023</c:v>
                </c:pt>
                <c:pt idx="286">
                  <c:v>21.02.2023</c:v>
                </c:pt>
                <c:pt idx="287">
                  <c:v>22.02.2023</c:v>
                </c:pt>
                <c:pt idx="288">
                  <c:v>23.02.2023</c:v>
                </c:pt>
                <c:pt idx="289">
                  <c:v>24.02.2023</c:v>
                </c:pt>
                <c:pt idx="290">
                  <c:v>27.02.2023</c:v>
                </c:pt>
                <c:pt idx="291">
                  <c:v>28.02.2023</c:v>
                </c:pt>
                <c:pt idx="292">
                  <c:v>01.03.2023</c:v>
                </c:pt>
                <c:pt idx="293">
                  <c:v>02.03.2023</c:v>
                </c:pt>
                <c:pt idx="294">
                  <c:v>03.03.2023</c:v>
                </c:pt>
                <c:pt idx="295">
                  <c:v>06.03.2023</c:v>
                </c:pt>
                <c:pt idx="296">
                  <c:v>07.03.2023</c:v>
                </c:pt>
                <c:pt idx="297">
                  <c:v>08.03.2023</c:v>
                </c:pt>
                <c:pt idx="298">
                  <c:v>09.03.2023</c:v>
                </c:pt>
                <c:pt idx="299">
                  <c:v>10.03.2023</c:v>
                </c:pt>
                <c:pt idx="300">
                  <c:v>13.03.2023</c:v>
                </c:pt>
                <c:pt idx="301">
                  <c:v>14.03.2023</c:v>
                </c:pt>
                <c:pt idx="302">
                  <c:v>15.03.2023</c:v>
                </c:pt>
                <c:pt idx="303">
                  <c:v>16.03.2023</c:v>
                </c:pt>
                <c:pt idx="304">
                  <c:v>17.03.2023</c:v>
                </c:pt>
                <c:pt idx="305">
                  <c:v>20.03.2023</c:v>
                </c:pt>
                <c:pt idx="306">
                  <c:v>21.03.2023</c:v>
                </c:pt>
                <c:pt idx="307">
                  <c:v>22.03.2023</c:v>
                </c:pt>
                <c:pt idx="308">
                  <c:v>23.03.2023</c:v>
                </c:pt>
                <c:pt idx="309">
                  <c:v>24.03.2023</c:v>
                </c:pt>
                <c:pt idx="310">
                  <c:v>27.03.2023</c:v>
                </c:pt>
                <c:pt idx="311">
                  <c:v>28.03.2023</c:v>
                </c:pt>
                <c:pt idx="312">
                  <c:v>29.03.2023</c:v>
                </c:pt>
                <c:pt idx="313">
                  <c:v>30.03.2023</c:v>
                </c:pt>
                <c:pt idx="314">
                  <c:v>31.03.2023</c:v>
                </c:pt>
                <c:pt idx="315">
                  <c:v>03.04.2023</c:v>
                </c:pt>
                <c:pt idx="316">
                  <c:v>04.04.2023</c:v>
                </c:pt>
                <c:pt idx="317">
                  <c:v>05.04.2023</c:v>
                </c:pt>
                <c:pt idx="318">
                  <c:v>06.04.2023</c:v>
                </c:pt>
                <c:pt idx="319">
                  <c:v>07.04.2023</c:v>
                </c:pt>
                <c:pt idx="320">
                  <c:v>10.04.2023</c:v>
                </c:pt>
                <c:pt idx="321">
                  <c:v>11.04.2023</c:v>
                </c:pt>
                <c:pt idx="322">
                  <c:v>12.04.2023</c:v>
                </c:pt>
                <c:pt idx="323">
                  <c:v>13.04.2023</c:v>
                </c:pt>
                <c:pt idx="324">
                  <c:v>18.04.2023</c:v>
                </c:pt>
                <c:pt idx="325">
                  <c:v>19.04.2023</c:v>
                </c:pt>
                <c:pt idx="326">
                  <c:v>20.04.2023</c:v>
                </c:pt>
                <c:pt idx="327">
                  <c:v>21.04.2023</c:v>
                </c:pt>
                <c:pt idx="328">
                  <c:v>24.04.2023</c:v>
                </c:pt>
                <c:pt idx="329">
                  <c:v>25.04.2023</c:v>
                </c:pt>
                <c:pt idx="330">
                  <c:v>26.04.2023</c:v>
                </c:pt>
                <c:pt idx="331">
                  <c:v>27.04.2023</c:v>
                </c:pt>
                <c:pt idx="332">
                  <c:v>28.04.2023</c:v>
                </c:pt>
                <c:pt idx="333">
                  <c:v>02.05.2023</c:v>
                </c:pt>
                <c:pt idx="334">
                  <c:v>03.05.2023</c:v>
                </c:pt>
                <c:pt idx="335">
                  <c:v>04.05.2023</c:v>
                </c:pt>
                <c:pt idx="336">
                  <c:v>05.05.2023</c:v>
                </c:pt>
                <c:pt idx="337">
                  <c:v>08.05.2023</c:v>
                </c:pt>
                <c:pt idx="338">
                  <c:v>09.05.2023</c:v>
                </c:pt>
                <c:pt idx="339">
                  <c:v>10.05.2023</c:v>
                </c:pt>
                <c:pt idx="340">
                  <c:v>11.05.2023</c:v>
                </c:pt>
                <c:pt idx="341">
                  <c:v>12.05.2023</c:v>
                </c:pt>
                <c:pt idx="342">
                  <c:v>15.05.2023</c:v>
                </c:pt>
                <c:pt idx="343">
                  <c:v>16.05.2023</c:v>
                </c:pt>
                <c:pt idx="344">
                  <c:v>17.05.2023</c:v>
                </c:pt>
                <c:pt idx="345">
                  <c:v>18.05.2023</c:v>
                </c:pt>
                <c:pt idx="346">
                  <c:v>19.05.2023</c:v>
                </c:pt>
                <c:pt idx="347">
                  <c:v>22.05.2023</c:v>
                </c:pt>
                <c:pt idx="348">
                  <c:v>23.05.2023</c:v>
                </c:pt>
                <c:pt idx="349">
                  <c:v>24.05.2023</c:v>
                </c:pt>
                <c:pt idx="350">
                  <c:v>25.05.2023</c:v>
                </c:pt>
                <c:pt idx="351">
                  <c:v>26.05.2023</c:v>
                </c:pt>
                <c:pt idx="352">
                  <c:v>29.05.2023</c:v>
                </c:pt>
                <c:pt idx="353">
                  <c:v>30.05.2023</c:v>
                </c:pt>
                <c:pt idx="354">
                  <c:v>31.05.2023</c:v>
                </c:pt>
                <c:pt idx="355">
                  <c:v>02.06.2023</c:v>
                </c:pt>
                <c:pt idx="356">
                  <c:v>06.06.2023</c:v>
                </c:pt>
                <c:pt idx="357">
                  <c:v>07.06.2023</c:v>
                </c:pt>
                <c:pt idx="358">
                  <c:v>08.06.2023</c:v>
                </c:pt>
                <c:pt idx="359">
                  <c:v>09.06.2023</c:v>
                </c:pt>
                <c:pt idx="360">
                  <c:v>12.06.2023</c:v>
                </c:pt>
                <c:pt idx="361">
                  <c:v>13.06.2023</c:v>
                </c:pt>
                <c:pt idx="362">
                  <c:v>14.06.2023</c:v>
                </c:pt>
                <c:pt idx="363">
                  <c:v>15.06.2023</c:v>
                </c:pt>
                <c:pt idx="364">
                  <c:v>16.06.2023</c:v>
                </c:pt>
                <c:pt idx="365">
                  <c:v>19.06.2023</c:v>
                </c:pt>
                <c:pt idx="366">
                  <c:v>20.06.2023</c:v>
                </c:pt>
                <c:pt idx="367">
                  <c:v>21.06.2023</c:v>
                </c:pt>
                <c:pt idx="368">
                  <c:v>22.06.2023</c:v>
                </c:pt>
                <c:pt idx="369">
                  <c:v>23.06.2023</c:v>
                </c:pt>
                <c:pt idx="370">
                  <c:v>26.06.2023</c:v>
                </c:pt>
                <c:pt idx="371">
                  <c:v>27.06.2023</c:v>
                </c:pt>
                <c:pt idx="372">
                  <c:v>28.06.2023</c:v>
                </c:pt>
                <c:pt idx="373">
                  <c:v>29.06.2023</c:v>
                </c:pt>
                <c:pt idx="374">
                  <c:v>30.06.2023</c:v>
                </c:pt>
                <c:pt idx="375">
                  <c:v>03.07.2023</c:v>
                </c:pt>
                <c:pt idx="376">
                  <c:v>04.07.2023</c:v>
                </c:pt>
                <c:pt idx="377">
                  <c:v>05.07.2023</c:v>
                </c:pt>
                <c:pt idx="378">
                  <c:v>06.07.2023</c:v>
                </c:pt>
                <c:pt idx="379">
                  <c:v>07.07.2023</c:v>
                </c:pt>
                <c:pt idx="380">
                  <c:v>10.07.2023</c:v>
                </c:pt>
                <c:pt idx="381">
                  <c:v>11.07.2023</c:v>
                </c:pt>
                <c:pt idx="382">
                  <c:v>12.07.2023</c:v>
                </c:pt>
                <c:pt idx="383">
                  <c:v>13.07.2023</c:v>
                </c:pt>
                <c:pt idx="384">
                  <c:v>14.07.2023</c:v>
                </c:pt>
                <c:pt idx="385">
                  <c:v>17.07.2023</c:v>
                </c:pt>
                <c:pt idx="386">
                  <c:v>18.07.2023</c:v>
                </c:pt>
                <c:pt idx="387">
                  <c:v>19.07.2023</c:v>
                </c:pt>
                <c:pt idx="388">
                  <c:v>20.07.2023</c:v>
                </c:pt>
                <c:pt idx="389">
                  <c:v>21.07.2023</c:v>
                </c:pt>
                <c:pt idx="390">
                  <c:v>24.07.2023</c:v>
                </c:pt>
                <c:pt idx="391">
                  <c:v>25.07.2023</c:v>
                </c:pt>
                <c:pt idx="392">
                  <c:v>26.07.2023</c:v>
                </c:pt>
                <c:pt idx="393">
                  <c:v>27.07.2023</c:v>
                </c:pt>
                <c:pt idx="394">
                  <c:v>28.07.2023</c:v>
                </c:pt>
                <c:pt idx="395">
                  <c:v>31.07.2023</c:v>
                </c:pt>
                <c:pt idx="396">
                  <c:v>01.08.2023</c:v>
                </c:pt>
                <c:pt idx="397">
                  <c:v>02.08.2023</c:v>
                </c:pt>
                <c:pt idx="398">
                  <c:v>03.08.2023</c:v>
                </c:pt>
                <c:pt idx="399">
                  <c:v>04.08.2023</c:v>
                </c:pt>
                <c:pt idx="400">
                  <c:v>07.08.2023</c:v>
                </c:pt>
                <c:pt idx="401">
                  <c:v>08.08.2023</c:v>
                </c:pt>
                <c:pt idx="402">
                  <c:v>09.08.2023</c:v>
                </c:pt>
                <c:pt idx="403">
                  <c:v>10.08.2023</c:v>
                </c:pt>
                <c:pt idx="404">
                  <c:v>11.08.2023</c:v>
                </c:pt>
                <c:pt idx="405">
                  <c:v>14.08.2023</c:v>
                </c:pt>
                <c:pt idx="406">
                  <c:v>16.08.2023</c:v>
                </c:pt>
                <c:pt idx="407">
                  <c:v>17.08.2023</c:v>
                </c:pt>
                <c:pt idx="408">
                  <c:v>18.08.2023</c:v>
                </c:pt>
                <c:pt idx="409">
                  <c:v>21.08.2023</c:v>
                </c:pt>
                <c:pt idx="410">
                  <c:v>22.08.2023</c:v>
                </c:pt>
                <c:pt idx="411">
                  <c:v>23.08.2023</c:v>
                </c:pt>
                <c:pt idx="412">
                  <c:v>24.08.2023</c:v>
                </c:pt>
                <c:pt idx="413">
                  <c:v>25.08.2023</c:v>
                </c:pt>
                <c:pt idx="414">
                  <c:v>28.08.2023</c:v>
                </c:pt>
                <c:pt idx="415">
                  <c:v>29.08.2023</c:v>
                </c:pt>
                <c:pt idx="416">
                  <c:v>30.08.2023</c:v>
                </c:pt>
                <c:pt idx="417">
                  <c:v>31.08.2023</c:v>
                </c:pt>
                <c:pt idx="418">
                  <c:v>01.09.2023</c:v>
                </c:pt>
                <c:pt idx="419">
                  <c:v>04.09.2023</c:v>
                </c:pt>
                <c:pt idx="420">
                  <c:v>05.09.2023</c:v>
                </c:pt>
                <c:pt idx="421">
                  <c:v>06.09.2023</c:v>
                </c:pt>
                <c:pt idx="422">
                  <c:v>07.09.2023</c:v>
                </c:pt>
                <c:pt idx="423">
                  <c:v>08.09.2023</c:v>
                </c:pt>
                <c:pt idx="424">
                  <c:v>11.09.2023</c:v>
                </c:pt>
                <c:pt idx="425">
                  <c:v>12.09.2023</c:v>
                </c:pt>
                <c:pt idx="426">
                  <c:v>13.09.2023</c:v>
                </c:pt>
                <c:pt idx="427">
                  <c:v>14.09.2023</c:v>
                </c:pt>
                <c:pt idx="428">
                  <c:v>15.09.2023</c:v>
                </c:pt>
                <c:pt idx="429">
                  <c:v>18.09.2023</c:v>
                </c:pt>
                <c:pt idx="430">
                  <c:v>19.09.2023</c:v>
                </c:pt>
                <c:pt idx="431">
                  <c:v>20.09.2023</c:v>
                </c:pt>
                <c:pt idx="432">
                  <c:v>21.09.2023</c:v>
                </c:pt>
                <c:pt idx="433">
                  <c:v>22.09.2023</c:v>
                </c:pt>
                <c:pt idx="434">
                  <c:v>25.09.2023</c:v>
                </c:pt>
                <c:pt idx="435">
                  <c:v>26.09.2023</c:v>
                </c:pt>
                <c:pt idx="436">
                  <c:v>27.09.2023</c:v>
                </c:pt>
                <c:pt idx="437">
                  <c:v>28.09.2023</c:v>
                </c:pt>
                <c:pt idx="438">
                  <c:v>29.09.2023</c:v>
                </c:pt>
                <c:pt idx="439">
                  <c:v>02.10.2023</c:v>
                </c:pt>
                <c:pt idx="440">
                  <c:v>03.10.2023</c:v>
                </c:pt>
                <c:pt idx="441">
                  <c:v>04.10.2023</c:v>
                </c:pt>
                <c:pt idx="442">
                  <c:v>05.10.2023</c:v>
                </c:pt>
                <c:pt idx="443">
                  <c:v>06.10.2023</c:v>
                </c:pt>
                <c:pt idx="444">
                  <c:v>09.10.2023</c:v>
                </c:pt>
                <c:pt idx="445">
                  <c:v>10.10.2023</c:v>
                </c:pt>
                <c:pt idx="446">
                  <c:v>11.10.2023</c:v>
                </c:pt>
                <c:pt idx="447">
                  <c:v>12.10.2023</c:v>
                </c:pt>
                <c:pt idx="448">
                  <c:v>13.10.2023</c:v>
                </c:pt>
                <c:pt idx="449">
                  <c:v>16.10.2023</c:v>
                </c:pt>
                <c:pt idx="450">
                  <c:v>17.10.2023</c:v>
                </c:pt>
                <c:pt idx="451">
                  <c:v>18.10.2023</c:v>
                </c:pt>
                <c:pt idx="452">
                  <c:v>19.10.2023</c:v>
                </c:pt>
                <c:pt idx="453">
                  <c:v>20.10.2023</c:v>
                </c:pt>
                <c:pt idx="454">
                  <c:v>23.10.2023</c:v>
                </c:pt>
                <c:pt idx="455">
                  <c:v>24.10.2023</c:v>
                </c:pt>
                <c:pt idx="456">
                  <c:v>25.10.2023</c:v>
                </c:pt>
                <c:pt idx="457">
                  <c:v>26.10.2023</c:v>
                </c:pt>
                <c:pt idx="458">
                  <c:v>27.10.2023</c:v>
                </c:pt>
                <c:pt idx="459">
                  <c:v>30.10.2023</c:v>
                </c:pt>
                <c:pt idx="460">
                  <c:v>31.10.2023</c:v>
                </c:pt>
                <c:pt idx="461">
                  <c:v>01.11.2023</c:v>
                </c:pt>
                <c:pt idx="462">
                  <c:v>02.11.2023</c:v>
                </c:pt>
                <c:pt idx="463">
                  <c:v>03.11.2023</c:v>
                </c:pt>
                <c:pt idx="464">
                  <c:v>06.11.2023</c:v>
                </c:pt>
                <c:pt idx="465">
                  <c:v>07.11.2023</c:v>
                </c:pt>
                <c:pt idx="466">
                  <c:v>08.11.2023</c:v>
                </c:pt>
                <c:pt idx="467">
                  <c:v>09.11.2023</c:v>
                </c:pt>
                <c:pt idx="468">
                  <c:v>10.11.2023</c:v>
                </c:pt>
                <c:pt idx="469">
                  <c:v>13.11.2023</c:v>
                </c:pt>
                <c:pt idx="470">
                  <c:v>14.11.2023</c:v>
                </c:pt>
                <c:pt idx="471">
                  <c:v>15.11.2023</c:v>
                </c:pt>
                <c:pt idx="472">
                  <c:v>16.11.2023</c:v>
                </c:pt>
                <c:pt idx="473">
                  <c:v>17.11.2023</c:v>
                </c:pt>
                <c:pt idx="474">
                  <c:v>20.11.2023</c:v>
                </c:pt>
                <c:pt idx="475">
                  <c:v>21.11.2023</c:v>
                </c:pt>
                <c:pt idx="476">
                  <c:v>22.11.2023</c:v>
                </c:pt>
                <c:pt idx="477">
                  <c:v>23.11.2023</c:v>
                </c:pt>
                <c:pt idx="478">
                  <c:v>24.11.2023</c:v>
                </c:pt>
                <c:pt idx="479">
                  <c:v>27.11.2023</c:v>
                </c:pt>
                <c:pt idx="480">
                  <c:v>28.11.2023</c:v>
                </c:pt>
                <c:pt idx="481">
                  <c:v>29.11.2023</c:v>
                </c:pt>
                <c:pt idx="482">
                  <c:v>04.12.2023</c:v>
                </c:pt>
                <c:pt idx="483">
                  <c:v>05.12.2023</c:v>
                </c:pt>
                <c:pt idx="484">
                  <c:v>06.12.2023</c:v>
                </c:pt>
                <c:pt idx="485">
                  <c:v>07.12.2023</c:v>
                </c:pt>
                <c:pt idx="486">
                  <c:v>08.12.2023</c:v>
                </c:pt>
                <c:pt idx="487">
                  <c:v>11.12.2023</c:v>
                </c:pt>
                <c:pt idx="488">
                  <c:v>12.12.2023</c:v>
                </c:pt>
                <c:pt idx="489">
                  <c:v>13.12.2023</c:v>
                </c:pt>
                <c:pt idx="490">
                  <c:v>14.12.2023</c:v>
                </c:pt>
                <c:pt idx="491">
                  <c:v>15.12.2023</c:v>
                </c:pt>
                <c:pt idx="492">
                  <c:v>18.12.2023</c:v>
                </c:pt>
                <c:pt idx="493">
                  <c:v>19.12.2023</c:v>
                </c:pt>
                <c:pt idx="494">
                  <c:v>20.12.2023</c:v>
                </c:pt>
                <c:pt idx="495">
                  <c:v>21.12.2023</c:v>
                </c:pt>
                <c:pt idx="496">
                  <c:v>22.12.2023</c:v>
                </c:pt>
                <c:pt idx="497">
                  <c:v>27.12.2023</c:v>
                </c:pt>
                <c:pt idx="498">
                  <c:v>28.12.2023</c:v>
                </c:pt>
                <c:pt idx="499">
                  <c:v>29.12.2023</c:v>
                </c:pt>
                <c:pt idx="500">
                  <c:v>03.01.2024</c:v>
                </c:pt>
                <c:pt idx="501">
                  <c:v>04.01.2024</c:v>
                </c:pt>
                <c:pt idx="502">
                  <c:v>05.01.2024</c:v>
                </c:pt>
                <c:pt idx="503">
                  <c:v>08.01.2024</c:v>
                </c:pt>
                <c:pt idx="504">
                  <c:v>09.01.2024</c:v>
                </c:pt>
                <c:pt idx="505">
                  <c:v>10.01.2024</c:v>
                </c:pt>
                <c:pt idx="506">
                  <c:v>11.01.2024</c:v>
                </c:pt>
                <c:pt idx="507">
                  <c:v>12.01.2024</c:v>
                </c:pt>
                <c:pt idx="508">
                  <c:v>15.01.2024</c:v>
                </c:pt>
                <c:pt idx="509">
                  <c:v>16.01.2024</c:v>
                </c:pt>
                <c:pt idx="510">
                  <c:v>17.01.2024</c:v>
                </c:pt>
                <c:pt idx="511">
                  <c:v>18.01.2024</c:v>
                </c:pt>
                <c:pt idx="512">
                  <c:v>19.01.2024</c:v>
                </c:pt>
                <c:pt idx="513">
                  <c:v>22.01.2024</c:v>
                </c:pt>
                <c:pt idx="514">
                  <c:v>23.01.2024</c:v>
                </c:pt>
                <c:pt idx="515">
                  <c:v>25.01.2024</c:v>
                </c:pt>
                <c:pt idx="516">
                  <c:v>26.01.2024</c:v>
                </c:pt>
                <c:pt idx="517">
                  <c:v>29.01.2024</c:v>
                </c:pt>
                <c:pt idx="518">
                  <c:v>30.01.2024</c:v>
                </c:pt>
                <c:pt idx="519">
                  <c:v>31.01.2024</c:v>
                </c:pt>
                <c:pt idx="520">
                  <c:v>01.02.2024</c:v>
                </c:pt>
                <c:pt idx="521">
                  <c:v>02.02.2024</c:v>
                </c:pt>
                <c:pt idx="522">
                  <c:v>05.02.2024</c:v>
                </c:pt>
                <c:pt idx="523">
                  <c:v>06.02.2024</c:v>
                </c:pt>
                <c:pt idx="524">
                  <c:v>07.02.2024</c:v>
                </c:pt>
                <c:pt idx="525">
                  <c:v>08.02.2024</c:v>
                </c:pt>
                <c:pt idx="526">
                  <c:v>09.02.2024</c:v>
                </c:pt>
                <c:pt idx="527">
                  <c:v>12.02.2024</c:v>
                </c:pt>
                <c:pt idx="528">
                  <c:v>13.02.2024</c:v>
                </c:pt>
                <c:pt idx="529">
                  <c:v>14.02.2024</c:v>
                </c:pt>
                <c:pt idx="530">
                  <c:v>15.02.2024</c:v>
                </c:pt>
                <c:pt idx="531">
                  <c:v>16.02.2024</c:v>
                </c:pt>
                <c:pt idx="532">
                  <c:v>19.02.2024</c:v>
                </c:pt>
                <c:pt idx="533">
                  <c:v>20.02.2024</c:v>
                </c:pt>
                <c:pt idx="534">
                  <c:v>21.02.2024</c:v>
                </c:pt>
                <c:pt idx="535">
                  <c:v>22.02.2024</c:v>
                </c:pt>
                <c:pt idx="536">
                  <c:v>23.02.2024</c:v>
                </c:pt>
                <c:pt idx="537">
                  <c:v>26.02.2024</c:v>
                </c:pt>
                <c:pt idx="538">
                  <c:v>27.02.2024</c:v>
                </c:pt>
                <c:pt idx="539">
                  <c:v>28.02.2024</c:v>
                </c:pt>
                <c:pt idx="540">
                  <c:v>29.02.2024</c:v>
                </c:pt>
                <c:pt idx="541">
                  <c:v>01.03.2024</c:v>
                </c:pt>
                <c:pt idx="542">
                  <c:v>04.03.2024</c:v>
                </c:pt>
                <c:pt idx="543">
                  <c:v>05.03.2024</c:v>
                </c:pt>
                <c:pt idx="544">
                  <c:v>06.03.2024</c:v>
                </c:pt>
                <c:pt idx="545">
                  <c:v>07.03.2024</c:v>
                </c:pt>
                <c:pt idx="546">
                  <c:v>08.03.2024</c:v>
                </c:pt>
                <c:pt idx="547">
                  <c:v>11.03.2024</c:v>
                </c:pt>
                <c:pt idx="548">
                  <c:v>12.03.2024</c:v>
                </c:pt>
                <c:pt idx="549">
                  <c:v>13.03.2024</c:v>
                </c:pt>
                <c:pt idx="550">
                  <c:v>14.03.2024</c:v>
                </c:pt>
                <c:pt idx="551">
                  <c:v>15.03.2024</c:v>
                </c:pt>
                <c:pt idx="552">
                  <c:v>18.03.2024</c:v>
                </c:pt>
                <c:pt idx="553">
                  <c:v>19.03.2024</c:v>
                </c:pt>
                <c:pt idx="554">
                  <c:v>20.03.2024</c:v>
                </c:pt>
                <c:pt idx="555">
                  <c:v>21.03.2024</c:v>
                </c:pt>
                <c:pt idx="556">
                  <c:v>22.03.2024</c:v>
                </c:pt>
                <c:pt idx="557">
                  <c:v>25.03.2024</c:v>
                </c:pt>
                <c:pt idx="558">
                  <c:v>26.03.2024</c:v>
                </c:pt>
                <c:pt idx="559">
                  <c:v>27.03.2024</c:v>
                </c:pt>
                <c:pt idx="560">
                  <c:v>28.03.2024</c:v>
                </c:pt>
                <c:pt idx="561">
                  <c:v>29.03.2024</c:v>
                </c:pt>
                <c:pt idx="562">
                  <c:v>01.04.2024</c:v>
                </c:pt>
                <c:pt idx="563">
                  <c:v>02.04.2024</c:v>
                </c:pt>
                <c:pt idx="564">
                  <c:v>03.04.2024</c:v>
                </c:pt>
                <c:pt idx="565">
                  <c:v>04.04.2024</c:v>
                </c:pt>
                <c:pt idx="566">
                  <c:v>05.04.2024</c:v>
                </c:pt>
                <c:pt idx="567">
                  <c:v>08.04.2024</c:v>
                </c:pt>
                <c:pt idx="568">
                  <c:v>09.04.2024</c:v>
                </c:pt>
                <c:pt idx="569">
                  <c:v>10.04.2024</c:v>
                </c:pt>
                <c:pt idx="570">
                  <c:v>11.04.2024</c:v>
                </c:pt>
                <c:pt idx="571">
                  <c:v>12.04.2024</c:v>
                </c:pt>
                <c:pt idx="572">
                  <c:v>15.04.2024</c:v>
                </c:pt>
                <c:pt idx="573">
                  <c:v>16.04.2024</c:v>
                </c:pt>
                <c:pt idx="574">
                  <c:v>17.04.2024</c:v>
                </c:pt>
                <c:pt idx="575">
                  <c:v>18.04.2024</c:v>
                </c:pt>
                <c:pt idx="576">
                  <c:v>19.04.2024</c:v>
                </c:pt>
                <c:pt idx="577">
                  <c:v>22.04.2024</c:v>
                </c:pt>
                <c:pt idx="578">
                  <c:v>23.04.2024</c:v>
                </c:pt>
                <c:pt idx="579">
                  <c:v>24.04.2024</c:v>
                </c:pt>
                <c:pt idx="580">
                  <c:v>25.04.2024</c:v>
                </c:pt>
                <c:pt idx="581">
                  <c:v>26.04.2024</c:v>
                </c:pt>
                <c:pt idx="582">
                  <c:v>29.04.2024</c:v>
                </c:pt>
                <c:pt idx="583">
                  <c:v>30.04.2024</c:v>
                </c:pt>
                <c:pt idx="584">
                  <c:v>02.05.2024</c:v>
                </c:pt>
                <c:pt idx="585">
                  <c:v>07.05.2024</c:v>
                </c:pt>
                <c:pt idx="586">
                  <c:v>08.05.2024</c:v>
                </c:pt>
                <c:pt idx="587">
                  <c:v>09.05.2024</c:v>
                </c:pt>
                <c:pt idx="588">
                  <c:v>10.05.2024</c:v>
                </c:pt>
                <c:pt idx="589">
                  <c:v>13.05.2024</c:v>
                </c:pt>
                <c:pt idx="590">
                  <c:v>14.05.2024</c:v>
                </c:pt>
                <c:pt idx="591">
                  <c:v>15.05.2024</c:v>
                </c:pt>
                <c:pt idx="592">
                  <c:v>16.05.2024</c:v>
                </c:pt>
                <c:pt idx="593">
                  <c:v>17.05.2024</c:v>
                </c:pt>
                <c:pt idx="594">
                  <c:v>20.05.2024</c:v>
                </c:pt>
                <c:pt idx="595">
                  <c:v>21.05.2024</c:v>
                </c:pt>
                <c:pt idx="596">
                  <c:v>22.05.2024</c:v>
                </c:pt>
                <c:pt idx="597">
                  <c:v>23.05.2024</c:v>
                </c:pt>
                <c:pt idx="598">
                  <c:v>24.05.2024</c:v>
                </c:pt>
                <c:pt idx="599">
                  <c:v>27.05.2024</c:v>
                </c:pt>
                <c:pt idx="600">
                  <c:v>28.05.2024</c:v>
                </c:pt>
                <c:pt idx="601">
                  <c:v>29.05.2024</c:v>
                </c:pt>
                <c:pt idx="602">
                  <c:v>30.05.2024</c:v>
                </c:pt>
                <c:pt idx="603">
                  <c:v>31.05.2024</c:v>
                </c:pt>
                <c:pt idx="604">
                  <c:v>03.06.2024</c:v>
                </c:pt>
                <c:pt idx="605">
                  <c:v>04.06.2024</c:v>
                </c:pt>
                <c:pt idx="606">
                  <c:v>05.06.2024</c:v>
                </c:pt>
                <c:pt idx="607">
                  <c:v>06.06.2024</c:v>
                </c:pt>
                <c:pt idx="608">
                  <c:v>07.06.2024</c:v>
                </c:pt>
                <c:pt idx="609">
                  <c:v>10.06.2024</c:v>
                </c:pt>
                <c:pt idx="610">
                  <c:v>11.06.2024</c:v>
                </c:pt>
                <c:pt idx="611">
                  <c:v>12.06.2024</c:v>
                </c:pt>
                <c:pt idx="612">
                  <c:v>13.06.2024</c:v>
                </c:pt>
                <c:pt idx="613">
                  <c:v>14.06.2024</c:v>
                </c:pt>
                <c:pt idx="614">
                  <c:v>17.06.2024</c:v>
                </c:pt>
                <c:pt idx="615">
                  <c:v>18.06.2024</c:v>
                </c:pt>
                <c:pt idx="616">
                  <c:v>19.06.2024</c:v>
                </c:pt>
                <c:pt idx="617">
                  <c:v>20.06.2024</c:v>
                </c:pt>
                <c:pt idx="618">
                  <c:v>21.06.2024</c:v>
                </c:pt>
                <c:pt idx="619">
                  <c:v>25.06.2024</c:v>
                </c:pt>
                <c:pt idx="620">
                  <c:v>26.06.2024</c:v>
                </c:pt>
                <c:pt idx="621">
                  <c:v>27.06.2024</c:v>
                </c:pt>
                <c:pt idx="622">
                  <c:v>28.06.2024</c:v>
                </c:pt>
                <c:pt idx="623">
                  <c:v>01.07.2024</c:v>
                </c:pt>
                <c:pt idx="624">
                  <c:v>02.07.2024</c:v>
                </c:pt>
                <c:pt idx="625">
                  <c:v>03.07.2024</c:v>
                </c:pt>
                <c:pt idx="626">
                  <c:v>04.07.2024</c:v>
                </c:pt>
                <c:pt idx="627">
                  <c:v>05.07.2024</c:v>
                </c:pt>
                <c:pt idx="628">
                  <c:v>08.07.2024</c:v>
                </c:pt>
                <c:pt idx="629">
                  <c:v>09.07.2024</c:v>
                </c:pt>
                <c:pt idx="630">
                  <c:v>10.07.2024</c:v>
                </c:pt>
                <c:pt idx="631">
                  <c:v>11.07.2024</c:v>
                </c:pt>
                <c:pt idx="632">
                  <c:v>12.07.2024</c:v>
                </c:pt>
                <c:pt idx="633">
                  <c:v>15.07.2024</c:v>
                </c:pt>
                <c:pt idx="634">
                  <c:v>16.07.2024</c:v>
                </c:pt>
                <c:pt idx="635">
                  <c:v>17.07.2024</c:v>
                </c:pt>
                <c:pt idx="636">
                  <c:v>18.07.2024</c:v>
                </c:pt>
                <c:pt idx="637">
                  <c:v>19.07.2024</c:v>
                </c:pt>
                <c:pt idx="638">
                  <c:v>22.07.2024</c:v>
                </c:pt>
                <c:pt idx="639">
                  <c:v>23.07.2024</c:v>
                </c:pt>
                <c:pt idx="640">
                  <c:v>24.07.2024</c:v>
                </c:pt>
                <c:pt idx="641">
                  <c:v>25.07.2024</c:v>
                </c:pt>
                <c:pt idx="642">
                  <c:v>26.07.2024</c:v>
                </c:pt>
                <c:pt idx="643">
                  <c:v>29.07.2024</c:v>
                </c:pt>
                <c:pt idx="644">
                  <c:v>30.07.2024</c:v>
                </c:pt>
                <c:pt idx="645">
                  <c:v>31.07.2024</c:v>
                </c:pt>
                <c:pt idx="646">
                  <c:v>01.08.2024</c:v>
                </c:pt>
                <c:pt idx="647">
                  <c:v>02.08.2024</c:v>
                </c:pt>
                <c:pt idx="648">
                  <c:v>05.08.2024</c:v>
                </c:pt>
                <c:pt idx="649">
                  <c:v>06.08.2024</c:v>
                </c:pt>
                <c:pt idx="650">
                  <c:v>07.08.2024</c:v>
                </c:pt>
                <c:pt idx="651">
                  <c:v>08.08.2024</c:v>
                </c:pt>
                <c:pt idx="652">
                  <c:v>09.08.2024</c:v>
                </c:pt>
                <c:pt idx="653">
                  <c:v>12.08.2024</c:v>
                </c:pt>
                <c:pt idx="654">
                  <c:v>13.08.2024</c:v>
                </c:pt>
                <c:pt idx="655">
                  <c:v>14.08.2024</c:v>
                </c:pt>
                <c:pt idx="656">
                  <c:v>16.08.2024</c:v>
                </c:pt>
                <c:pt idx="657">
                  <c:v>19.08.2024</c:v>
                </c:pt>
                <c:pt idx="658">
                  <c:v>20.08.2024</c:v>
                </c:pt>
                <c:pt idx="659">
                  <c:v>21.08.2024</c:v>
                </c:pt>
                <c:pt idx="660">
                  <c:v>22.08.2024</c:v>
                </c:pt>
                <c:pt idx="661">
                  <c:v>23.08.2024</c:v>
                </c:pt>
                <c:pt idx="662">
                  <c:v>26.08.2024</c:v>
                </c:pt>
                <c:pt idx="663">
                  <c:v>27.08.2024</c:v>
                </c:pt>
                <c:pt idx="664">
                  <c:v>28.08.2024</c:v>
                </c:pt>
                <c:pt idx="665">
                  <c:v>29.08.2024</c:v>
                </c:pt>
                <c:pt idx="666">
                  <c:v>30.08.2024</c:v>
                </c:pt>
                <c:pt idx="667">
                  <c:v>02.09.2024</c:v>
                </c:pt>
                <c:pt idx="668">
                  <c:v>03.09.2024</c:v>
                </c:pt>
                <c:pt idx="669">
                  <c:v>04.09.2024</c:v>
                </c:pt>
                <c:pt idx="670">
                  <c:v>05.09.2024</c:v>
                </c:pt>
                <c:pt idx="671">
                  <c:v>06.09.2024</c:v>
                </c:pt>
                <c:pt idx="672">
                  <c:v>09.09.2024</c:v>
                </c:pt>
                <c:pt idx="673">
                  <c:v>10.09.2024</c:v>
                </c:pt>
                <c:pt idx="674">
                  <c:v>11.09.2024</c:v>
                </c:pt>
                <c:pt idx="675">
                  <c:v>12.09.2024</c:v>
                </c:pt>
                <c:pt idx="676">
                  <c:v>13.09.2024</c:v>
                </c:pt>
                <c:pt idx="677">
                  <c:v>16.09.2024</c:v>
                </c:pt>
                <c:pt idx="678">
                  <c:v>17.09.2024</c:v>
                </c:pt>
                <c:pt idx="679">
                  <c:v>18.09.2024</c:v>
                </c:pt>
                <c:pt idx="680">
                  <c:v>19.09.2024</c:v>
                </c:pt>
                <c:pt idx="681">
                  <c:v>20.09.2024</c:v>
                </c:pt>
                <c:pt idx="682">
                  <c:v>23.09.2024</c:v>
                </c:pt>
                <c:pt idx="683">
                  <c:v>24.09.2024</c:v>
                </c:pt>
                <c:pt idx="684">
                  <c:v>25.09.2024</c:v>
                </c:pt>
                <c:pt idx="685">
                  <c:v>26.09.2024</c:v>
                </c:pt>
                <c:pt idx="686">
                  <c:v>27.09.2024</c:v>
                </c:pt>
                <c:pt idx="687">
                  <c:v>30.09.2024</c:v>
                </c:pt>
                <c:pt idx="688">
                  <c:v>01.10.2024</c:v>
                </c:pt>
                <c:pt idx="689">
                  <c:v>02.10.2024</c:v>
                </c:pt>
                <c:pt idx="690">
                  <c:v>03.10.2024</c:v>
                </c:pt>
                <c:pt idx="691">
                  <c:v>04.10.2024</c:v>
                </c:pt>
                <c:pt idx="692">
                  <c:v>07.10.2024</c:v>
                </c:pt>
                <c:pt idx="693">
                  <c:v>08.10.2024</c:v>
                </c:pt>
                <c:pt idx="694">
                  <c:v>09.10.2024</c:v>
                </c:pt>
                <c:pt idx="695">
                  <c:v>10.10.2024</c:v>
                </c:pt>
                <c:pt idx="696">
                  <c:v>11.10.2024</c:v>
                </c:pt>
                <c:pt idx="697">
                  <c:v>14.10.2024</c:v>
                </c:pt>
                <c:pt idx="698">
                  <c:v>15.10.2024</c:v>
                </c:pt>
                <c:pt idx="699">
                  <c:v>16.10.2024</c:v>
                </c:pt>
                <c:pt idx="700">
                  <c:v>17.10.2024</c:v>
                </c:pt>
                <c:pt idx="701">
                  <c:v>18.10.2024</c:v>
                </c:pt>
                <c:pt idx="702">
                  <c:v>21.10.2024</c:v>
                </c:pt>
                <c:pt idx="703">
                  <c:v>22.10.2024</c:v>
                </c:pt>
                <c:pt idx="704">
                  <c:v>23.10.2024</c:v>
                </c:pt>
                <c:pt idx="705">
                  <c:v>24.10.2024</c:v>
                </c:pt>
                <c:pt idx="706">
                  <c:v>25.10.2024</c:v>
                </c:pt>
                <c:pt idx="707">
                  <c:v>28.10.2024</c:v>
                </c:pt>
                <c:pt idx="708">
                  <c:v>29.10.2024</c:v>
                </c:pt>
                <c:pt idx="709">
                  <c:v>30.10.2024</c:v>
                </c:pt>
                <c:pt idx="710">
                  <c:v>31.10.2024</c:v>
                </c:pt>
                <c:pt idx="711">
                  <c:v>01.11.2024</c:v>
                </c:pt>
                <c:pt idx="712">
                  <c:v>04.11.2024</c:v>
                </c:pt>
                <c:pt idx="713">
                  <c:v>05.11.2024</c:v>
                </c:pt>
                <c:pt idx="714">
                  <c:v>06.11.2024</c:v>
                </c:pt>
                <c:pt idx="715">
                  <c:v>07.11.2024</c:v>
                </c:pt>
                <c:pt idx="716">
                  <c:v>08.11.2024</c:v>
                </c:pt>
                <c:pt idx="717">
                  <c:v>11.11.2024</c:v>
                </c:pt>
                <c:pt idx="718">
                  <c:v>12.11.2024</c:v>
                </c:pt>
                <c:pt idx="719">
                  <c:v>13.11.2024</c:v>
                </c:pt>
                <c:pt idx="720">
                  <c:v>14.11.2024</c:v>
                </c:pt>
                <c:pt idx="721">
                  <c:v>15.11.2024</c:v>
                </c:pt>
                <c:pt idx="722">
                  <c:v>18.11.2024</c:v>
                </c:pt>
                <c:pt idx="723">
                  <c:v>19.11.2024</c:v>
                </c:pt>
                <c:pt idx="724">
                  <c:v>20.11.2024</c:v>
                </c:pt>
                <c:pt idx="725">
                  <c:v>21.11.2024</c:v>
                </c:pt>
                <c:pt idx="726">
                  <c:v>22.11.2024</c:v>
                </c:pt>
                <c:pt idx="727">
                  <c:v>25.11.2024</c:v>
                </c:pt>
                <c:pt idx="728">
                  <c:v>26.11.2024</c:v>
                </c:pt>
                <c:pt idx="729">
                  <c:v>27.11.2024</c:v>
                </c:pt>
                <c:pt idx="730">
                  <c:v>28.11.2024</c:v>
                </c:pt>
                <c:pt idx="731">
                  <c:v>29.11.2024</c:v>
                </c:pt>
                <c:pt idx="732">
                  <c:v>02.12.2024</c:v>
                </c:pt>
                <c:pt idx="733">
                  <c:v>03.12.2024</c:v>
                </c:pt>
                <c:pt idx="734">
                  <c:v>04.12.2024</c:v>
                </c:pt>
                <c:pt idx="735">
                  <c:v>05.12.2024</c:v>
                </c:pt>
                <c:pt idx="736">
                  <c:v>06.12.2024</c:v>
                </c:pt>
                <c:pt idx="737">
                  <c:v>09.12.2024</c:v>
                </c:pt>
                <c:pt idx="738">
                  <c:v>10.12.2024</c:v>
                </c:pt>
                <c:pt idx="739">
                  <c:v>11.12.2024</c:v>
                </c:pt>
                <c:pt idx="740">
                  <c:v>12.12.2024</c:v>
                </c:pt>
                <c:pt idx="741">
                  <c:v>13.12.2024</c:v>
                </c:pt>
                <c:pt idx="742">
                  <c:v>16.12.2024</c:v>
                </c:pt>
                <c:pt idx="743">
                  <c:v>17.12.2024</c:v>
                </c:pt>
                <c:pt idx="744">
                  <c:v>18.12.2024</c:v>
                </c:pt>
                <c:pt idx="745">
                  <c:v>19.12.2024</c:v>
                </c:pt>
                <c:pt idx="746">
                  <c:v>20.12.2024</c:v>
                </c:pt>
                <c:pt idx="747">
                  <c:v>23.12.2024</c:v>
                </c:pt>
                <c:pt idx="748">
                  <c:v>27.12.2024</c:v>
                </c:pt>
                <c:pt idx="749">
                  <c:v>30.12.2024</c:v>
                </c:pt>
              </c:strCache>
            </c:strRef>
          </c:cat>
          <c:val>
            <c:numRef>
              <c:f>'Stock 2024'!$B$2:$B$752</c:f>
              <c:numCache>
                <c:formatCode>0.00</c:formatCode>
                <c:ptCount val="750"/>
                <c:pt idx="0" formatCode="#,##0.00">
                  <c:v>22.5</c:v>
                </c:pt>
                <c:pt idx="1">
                  <c:v>22.8</c:v>
                </c:pt>
                <c:pt idx="2">
                  <c:v>23.2</c:v>
                </c:pt>
                <c:pt idx="3">
                  <c:v>23.2</c:v>
                </c:pt>
                <c:pt idx="4" formatCode="#,##0.00">
                  <c:v>23.1</c:v>
                </c:pt>
                <c:pt idx="5">
                  <c:v>23.2</c:v>
                </c:pt>
                <c:pt idx="6">
                  <c:v>23.3</c:v>
                </c:pt>
                <c:pt idx="7">
                  <c:v>23.5</c:v>
                </c:pt>
                <c:pt idx="8">
                  <c:v>23.5</c:v>
                </c:pt>
                <c:pt idx="9">
                  <c:v>23.2</c:v>
                </c:pt>
                <c:pt idx="10">
                  <c:v>23.1</c:v>
                </c:pt>
                <c:pt idx="11">
                  <c:v>23.1</c:v>
                </c:pt>
                <c:pt idx="12">
                  <c:v>22.5</c:v>
                </c:pt>
                <c:pt idx="13">
                  <c:v>22.3</c:v>
                </c:pt>
                <c:pt idx="14">
                  <c:v>22.3</c:v>
                </c:pt>
                <c:pt idx="15">
                  <c:v>21.3</c:v>
                </c:pt>
                <c:pt idx="16" formatCode="#,##0.00">
                  <c:v>20.7</c:v>
                </c:pt>
                <c:pt idx="17">
                  <c:v>20.8</c:v>
                </c:pt>
                <c:pt idx="18">
                  <c:v>20.9</c:v>
                </c:pt>
                <c:pt idx="19">
                  <c:v>21.1</c:v>
                </c:pt>
                <c:pt idx="20">
                  <c:v>21</c:v>
                </c:pt>
                <c:pt idx="21">
                  <c:v>21.1</c:v>
                </c:pt>
                <c:pt idx="22">
                  <c:v>21.1</c:v>
                </c:pt>
                <c:pt idx="23">
                  <c:v>21</c:v>
                </c:pt>
                <c:pt idx="24">
                  <c:v>21.2</c:v>
                </c:pt>
                <c:pt idx="25">
                  <c:v>20.9</c:v>
                </c:pt>
                <c:pt idx="26">
                  <c:v>21.2</c:v>
                </c:pt>
                <c:pt idx="27">
                  <c:v>21</c:v>
                </c:pt>
                <c:pt idx="28" formatCode="#,##0.00">
                  <c:v>20.9</c:v>
                </c:pt>
                <c:pt idx="29">
                  <c:v>20.7</c:v>
                </c:pt>
                <c:pt idx="30">
                  <c:v>20.3</c:v>
                </c:pt>
                <c:pt idx="31">
                  <c:v>20.100000000000001</c:v>
                </c:pt>
                <c:pt idx="32">
                  <c:v>20</c:v>
                </c:pt>
                <c:pt idx="33">
                  <c:v>19.8</c:v>
                </c:pt>
                <c:pt idx="34">
                  <c:v>19.8</c:v>
                </c:pt>
                <c:pt idx="35">
                  <c:v>19.899999999999999</c:v>
                </c:pt>
                <c:pt idx="36">
                  <c:v>19.649999999999999</c:v>
                </c:pt>
                <c:pt idx="37">
                  <c:v>19.5</c:v>
                </c:pt>
                <c:pt idx="38">
                  <c:v>18.850000000000001</c:v>
                </c:pt>
                <c:pt idx="39">
                  <c:v>19.149999999999999</c:v>
                </c:pt>
                <c:pt idx="40" formatCode="#,##0.00">
                  <c:v>18.899999999999999</c:v>
                </c:pt>
                <c:pt idx="41">
                  <c:v>18.5</c:v>
                </c:pt>
                <c:pt idx="42">
                  <c:v>18.2</c:v>
                </c:pt>
                <c:pt idx="43">
                  <c:v>18.100000000000001</c:v>
                </c:pt>
                <c:pt idx="44">
                  <c:v>18.100000000000001</c:v>
                </c:pt>
                <c:pt idx="45">
                  <c:v>17.399999999999999</c:v>
                </c:pt>
                <c:pt idx="46">
                  <c:v>17.600000000000001</c:v>
                </c:pt>
                <c:pt idx="47">
                  <c:v>18.100000000000001</c:v>
                </c:pt>
                <c:pt idx="48">
                  <c:v>18.3</c:v>
                </c:pt>
                <c:pt idx="49">
                  <c:v>18.45</c:v>
                </c:pt>
                <c:pt idx="50">
                  <c:v>19.600000000000001</c:v>
                </c:pt>
                <c:pt idx="51">
                  <c:v>19.8</c:v>
                </c:pt>
                <c:pt idx="52" formatCode="#,##0.00">
                  <c:v>19.600000000000001</c:v>
                </c:pt>
                <c:pt idx="53">
                  <c:v>19.7</c:v>
                </c:pt>
                <c:pt idx="54">
                  <c:v>19.149999999999999</c:v>
                </c:pt>
                <c:pt idx="55">
                  <c:v>19.45</c:v>
                </c:pt>
                <c:pt idx="56">
                  <c:v>19.3</c:v>
                </c:pt>
                <c:pt idx="57">
                  <c:v>19.25</c:v>
                </c:pt>
                <c:pt idx="58">
                  <c:v>19.3</c:v>
                </c:pt>
                <c:pt idx="59">
                  <c:v>19.899999999999999</c:v>
                </c:pt>
                <c:pt idx="60">
                  <c:v>20.3</c:v>
                </c:pt>
                <c:pt idx="61">
                  <c:v>20.2</c:v>
                </c:pt>
                <c:pt idx="62">
                  <c:v>20.5</c:v>
                </c:pt>
                <c:pt idx="63">
                  <c:v>20</c:v>
                </c:pt>
                <c:pt idx="64">
                  <c:v>20.5</c:v>
                </c:pt>
                <c:pt idx="65">
                  <c:v>20.100000000000001</c:v>
                </c:pt>
                <c:pt idx="66">
                  <c:v>20.399999999999999</c:v>
                </c:pt>
                <c:pt idx="67">
                  <c:v>20.3</c:v>
                </c:pt>
                <c:pt idx="68">
                  <c:v>20</c:v>
                </c:pt>
                <c:pt idx="69">
                  <c:v>20</c:v>
                </c:pt>
                <c:pt idx="70">
                  <c:v>19.95</c:v>
                </c:pt>
                <c:pt idx="71">
                  <c:v>20</c:v>
                </c:pt>
                <c:pt idx="72">
                  <c:v>20</c:v>
                </c:pt>
                <c:pt idx="73">
                  <c:v>19.75</c:v>
                </c:pt>
                <c:pt idx="74">
                  <c:v>19.95</c:v>
                </c:pt>
                <c:pt idx="75">
                  <c:v>20.2</c:v>
                </c:pt>
                <c:pt idx="76">
                  <c:v>20</c:v>
                </c:pt>
                <c:pt idx="77">
                  <c:v>19.75</c:v>
                </c:pt>
                <c:pt idx="78">
                  <c:v>19.75</c:v>
                </c:pt>
                <c:pt idx="79">
                  <c:v>19.8</c:v>
                </c:pt>
                <c:pt idx="80">
                  <c:v>19.7</c:v>
                </c:pt>
                <c:pt idx="81">
                  <c:v>19.55</c:v>
                </c:pt>
                <c:pt idx="82">
                  <c:v>19.2</c:v>
                </c:pt>
                <c:pt idx="83">
                  <c:v>19.2</c:v>
                </c:pt>
                <c:pt idx="84">
                  <c:v>19.05</c:v>
                </c:pt>
                <c:pt idx="85">
                  <c:v>19.05</c:v>
                </c:pt>
                <c:pt idx="86">
                  <c:v>19.149999999999999</c:v>
                </c:pt>
                <c:pt idx="87">
                  <c:v>18.600000000000001</c:v>
                </c:pt>
                <c:pt idx="88">
                  <c:v>18.600000000000001</c:v>
                </c:pt>
                <c:pt idx="89">
                  <c:v>18.399999999999999</c:v>
                </c:pt>
                <c:pt idx="90">
                  <c:v>18.5</c:v>
                </c:pt>
                <c:pt idx="91">
                  <c:v>18.2</c:v>
                </c:pt>
                <c:pt idx="92">
                  <c:v>18.8</c:v>
                </c:pt>
                <c:pt idx="93">
                  <c:v>19</c:v>
                </c:pt>
                <c:pt idx="94">
                  <c:v>19.05</c:v>
                </c:pt>
                <c:pt idx="95">
                  <c:v>18.850000000000001</c:v>
                </c:pt>
                <c:pt idx="96">
                  <c:v>18.7</c:v>
                </c:pt>
                <c:pt idx="97">
                  <c:v>18.8</c:v>
                </c:pt>
                <c:pt idx="98">
                  <c:v>18.75</c:v>
                </c:pt>
                <c:pt idx="99">
                  <c:v>19</c:v>
                </c:pt>
                <c:pt idx="100">
                  <c:v>18.7</c:v>
                </c:pt>
                <c:pt idx="101">
                  <c:v>18.7</c:v>
                </c:pt>
                <c:pt idx="102">
                  <c:v>18.899999999999999</c:v>
                </c:pt>
                <c:pt idx="103">
                  <c:v>19</c:v>
                </c:pt>
                <c:pt idx="104">
                  <c:v>18.899999999999999</c:v>
                </c:pt>
                <c:pt idx="105">
                  <c:v>18.899999999999999</c:v>
                </c:pt>
                <c:pt idx="106">
                  <c:v>18.95</c:v>
                </c:pt>
                <c:pt idx="107">
                  <c:v>19</c:v>
                </c:pt>
                <c:pt idx="108">
                  <c:v>18.600000000000001</c:v>
                </c:pt>
                <c:pt idx="109">
                  <c:v>19</c:v>
                </c:pt>
                <c:pt idx="110">
                  <c:v>18.8</c:v>
                </c:pt>
                <c:pt idx="111">
                  <c:v>18.8</c:v>
                </c:pt>
                <c:pt idx="112">
                  <c:v>18.399999999999999</c:v>
                </c:pt>
                <c:pt idx="113">
                  <c:v>18.100000000000001</c:v>
                </c:pt>
                <c:pt idx="114">
                  <c:v>18.5</c:v>
                </c:pt>
                <c:pt idx="115">
                  <c:v>18.8</c:v>
                </c:pt>
                <c:pt idx="116">
                  <c:v>19</c:v>
                </c:pt>
                <c:pt idx="117">
                  <c:v>18.7</c:v>
                </c:pt>
                <c:pt idx="118">
                  <c:v>18.600000000000001</c:v>
                </c:pt>
                <c:pt idx="119">
                  <c:v>18.149999999999999</c:v>
                </c:pt>
                <c:pt idx="120">
                  <c:v>18.3</c:v>
                </c:pt>
                <c:pt idx="121">
                  <c:v>18.850000000000001</c:v>
                </c:pt>
                <c:pt idx="122">
                  <c:v>18.95</c:v>
                </c:pt>
                <c:pt idx="123">
                  <c:v>18.350000000000001</c:v>
                </c:pt>
                <c:pt idx="124">
                  <c:v>18.2</c:v>
                </c:pt>
                <c:pt idx="125" formatCode="#,##0.00">
                  <c:v>18.399999999999999</c:v>
                </c:pt>
                <c:pt idx="126" formatCode="#,##0.00">
                  <c:v>18</c:v>
                </c:pt>
                <c:pt idx="127" formatCode="#,##0.00">
                  <c:v>18.3</c:v>
                </c:pt>
                <c:pt idx="128" formatCode="#,##0.00">
                  <c:v>18.2</c:v>
                </c:pt>
                <c:pt idx="129" formatCode="#,##0.00">
                  <c:v>18.2</c:v>
                </c:pt>
                <c:pt idx="130" formatCode="#,##0.00">
                  <c:v>18.399999999999999</c:v>
                </c:pt>
                <c:pt idx="131" formatCode="#,##0.00">
                  <c:v>18.45</c:v>
                </c:pt>
                <c:pt idx="132" formatCode="#,##0.00">
                  <c:v>18.3</c:v>
                </c:pt>
                <c:pt idx="133" formatCode="#,##0.00">
                  <c:v>18</c:v>
                </c:pt>
                <c:pt idx="134" formatCode="#,##0.00">
                  <c:v>18.2</c:v>
                </c:pt>
                <c:pt idx="135" formatCode="#,##0.00">
                  <c:v>18.350000000000001</c:v>
                </c:pt>
                <c:pt idx="136" formatCode="#,##0.00">
                  <c:v>18.399999999999999</c:v>
                </c:pt>
                <c:pt idx="137" formatCode="#,##0.00">
                  <c:v>18.3</c:v>
                </c:pt>
                <c:pt idx="138" formatCode="#,##0.00">
                  <c:v>18.75</c:v>
                </c:pt>
                <c:pt idx="139" formatCode="#,##0.00">
                  <c:v>18.8</c:v>
                </c:pt>
                <c:pt idx="140" formatCode="#,##0.00">
                  <c:v>18.5</c:v>
                </c:pt>
                <c:pt idx="141" formatCode="#,##0.00">
                  <c:v>18.5</c:v>
                </c:pt>
                <c:pt idx="142" formatCode="#,##0.00">
                  <c:v>18.3</c:v>
                </c:pt>
                <c:pt idx="143" formatCode="#,##0.00">
                  <c:v>18.399999999999999</c:v>
                </c:pt>
                <c:pt idx="144" formatCode="#,##0.00">
                  <c:v>18.2</c:v>
                </c:pt>
                <c:pt idx="145" formatCode="#,##0.00">
                  <c:v>18.2</c:v>
                </c:pt>
                <c:pt idx="146" formatCode="#,##0.00">
                  <c:v>18.600000000000001</c:v>
                </c:pt>
                <c:pt idx="147" formatCode="#,##0.00">
                  <c:v>18.3</c:v>
                </c:pt>
                <c:pt idx="148" formatCode="#,##0.00">
                  <c:v>18</c:v>
                </c:pt>
                <c:pt idx="149" formatCode="#,##0.00">
                  <c:v>18.45</c:v>
                </c:pt>
                <c:pt idx="150" formatCode="#,##0.00">
                  <c:v>18.5</c:v>
                </c:pt>
                <c:pt idx="151" formatCode="#,##0.00">
                  <c:v>18.350000000000001</c:v>
                </c:pt>
                <c:pt idx="152" formatCode="#,##0.00">
                  <c:v>18.5</c:v>
                </c:pt>
                <c:pt idx="153" formatCode="#,##0.00">
                  <c:v>18.7</c:v>
                </c:pt>
                <c:pt idx="154" formatCode="#,##0.00">
                  <c:v>18.850000000000001</c:v>
                </c:pt>
                <c:pt idx="155" formatCode="#,##0.00">
                  <c:v>18.55</c:v>
                </c:pt>
                <c:pt idx="156" formatCode="#,##0.00">
                  <c:v>18.95</c:v>
                </c:pt>
                <c:pt idx="157" formatCode="#,##0.00">
                  <c:v>18.850000000000001</c:v>
                </c:pt>
                <c:pt idx="158" formatCode="#,##0.00">
                  <c:v>18.899999999999999</c:v>
                </c:pt>
                <c:pt idx="159" formatCode="#,##0.00">
                  <c:v>18.7</c:v>
                </c:pt>
                <c:pt idx="160" formatCode="#,##0.00">
                  <c:v>18.600000000000001</c:v>
                </c:pt>
                <c:pt idx="161" formatCode="#,##0.00">
                  <c:v>18.649999999999999</c:v>
                </c:pt>
                <c:pt idx="162" formatCode="#,##0.00">
                  <c:v>18.25</c:v>
                </c:pt>
                <c:pt idx="163" formatCode="#,##0.00">
                  <c:v>18.3</c:v>
                </c:pt>
                <c:pt idx="164" formatCode="#,##0.00">
                  <c:v>18.55</c:v>
                </c:pt>
                <c:pt idx="165" formatCode="#,##0.00">
                  <c:v>18.2</c:v>
                </c:pt>
                <c:pt idx="166" formatCode="#,##0.00">
                  <c:v>18.149999999999999</c:v>
                </c:pt>
                <c:pt idx="167" formatCode="#,##0.00">
                  <c:v>18.100000000000001</c:v>
                </c:pt>
                <c:pt idx="168" formatCode="#,##0.00">
                  <c:v>18.2</c:v>
                </c:pt>
                <c:pt idx="169" formatCode="#,##0.00">
                  <c:v>18.100000000000001</c:v>
                </c:pt>
                <c:pt idx="170" formatCode="#,##0.00">
                  <c:v>18.55</c:v>
                </c:pt>
                <c:pt idx="171" formatCode="#,##0.00">
                  <c:v>18.5</c:v>
                </c:pt>
                <c:pt idx="172" formatCode="#,##0.00">
                  <c:v>18.45</c:v>
                </c:pt>
                <c:pt idx="173" formatCode="#,##0.00">
                  <c:v>18.149999999999999</c:v>
                </c:pt>
                <c:pt idx="174" formatCode="#,##0.00">
                  <c:v>18.2</c:v>
                </c:pt>
                <c:pt idx="175" formatCode="#,##0.00">
                  <c:v>18.399999999999999</c:v>
                </c:pt>
                <c:pt idx="176" formatCode="#,##0.00">
                  <c:v>18.25</c:v>
                </c:pt>
                <c:pt idx="177" formatCode="#,##0.00">
                  <c:v>18.2</c:v>
                </c:pt>
                <c:pt idx="178" formatCode="#,##0.00">
                  <c:v>18.2</c:v>
                </c:pt>
                <c:pt idx="179" formatCode="#,##0.00">
                  <c:v>18.350000000000001</c:v>
                </c:pt>
                <c:pt idx="180" formatCode="#,##0.00">
                  <c:v>18.2</c:v>
                </c:pt>
                <c:pt idx="181" formatCode="#,##0.00">
                  <c:v>18.05</c:v>
                </c:pt>
                <c:pt idx="182" formatCode="#,##0.00">
                  <c:v>17.899999999999999</c:v>
                </c:pt>
                <c:pt idx="183" formatCode="#,##0.00">
                  <c:v>17.8</c:v>
                </c:pt>
                <c:pt idx="184" formatCode="#,##0.00">
                  <c:v>17.05</c:v>
                </c:pt>
                <c:pt idx="185" formatCode="#,##0.00">
                  <c:v>17.05</c:v>
                </c:pt>
                <c:pt idx="186" formatCode="#,##0.00">
                  <c:v>17.2</c:v>
                </c:pt>
                <c:pt idx="187" formatCode="#,##0.00">
                  <c:v>17.05</c:v>
                </c:pt>
                <c:pt idx="188" formatCode="#,##0.00">
                  <c:v>17.2</c:v>
                </c:pt>
                <c:pt idx="189" formatCode="#,##0.00">
                  <c:v>16.95</c:v>
                </c:pt>
                <c:pt idx="190" formatCode="#,##0.00">
                  <c:v>17</c:v>
                </c:pt>
                <c:pt idx="191" formatCode="#,##0.00">
                  <c:v>17.100000000000001</c:v>
                </c:pt>
                <c:pt idx="192" formatCode="#,##0.00">
                  <c:v>17.3</c:v>
                </c:pt>
                <c:pt idx="193" formatCode="#,##0.00">
                  <c:v>17.45</c:v>
                </c:pt>
                <c:pt idx="194" formatCode="#,##0.00">
                  <c:v>17.5</c:v>
                </c:pt>
                <c:pt idx="195" formatCode="#,##0.00">
                  <c:v>17.45</c:v>
                </c:pt>
                <c:pt idx="196" formatCode="#,##0.00">
                  <c:v>17.8</c:v>
                </c:pt>
                <c:pt idx="197" formatCode="#,##0.00">
                  <c:v>17.8</c:v>
                </c:pt>
                <c:pt idx="198" formatCode="#,##0.00">
                  <c:v>17.3</c:v>
                </c:pt>
                <c:pt idx="199" formatCode="#,##0.00">
                  <c:v>17.3</c:v>
                </c:pt>
                <c:pt idx="200" formatCode="#,##0.00">
                  <c:v>17.3</c:v>
                </c:pt>
                <c:pt idx="201" formatCode="#,##0.00">
                  <c:v>17.399999999999999</c:v>
                </c:pt>
                <c:pt idx="202" formatCode="#,##0.00">
                  <c:v>17.3</c:v>
                </c:pt>
                <c:pt idx="203" formatCode="#,##0.00">
                  <c:v>17.3</c:v>
                </c:pt>
                <c:pt idx="204" formatCode="#,##0.00">
                  <c:v>17.3</c:v>
                </c:pt>
                <c:pt idx="205" formatCode="#,##0.00">
                  <c:v>17.3</c:v>
                </c:pt>
                <c:pt idx="206" formatCode="#,##0.00">
                  <c:v>16.899999999999999</c:v>
                </c:pt>
                <c:pt idx="207" formatCode="#,##0.00">
                  <c:v>17.350000000000001</c:v>
                </c:pt>
                <c:pt idx="208" formatCode="#,##0.00">
                  <c:v>17.100000000000001</c:v>
                </c:pt>
                <c:pt idx="209" formatCode="#,##0.00">
                  <c:v>17.149999999999999</c:v>
                </c:pt>
                <c:pt idx="210" formatCode="#,##0.00">
                  <c:v>17.399999999999999</c:v>
                </c:pt>
                <c:pt idx="211" formatCode="#,##0.00">
                  <c:v>17.2</c:v>
                </c:pt>
                <c:pt idx="212" formatCode="#,##0.00">
                  <c:v>17.45</c:v>
                </c:pt>
                <c:pt idx="213" formatCode="#,##0.00">
                  <c:v>17.8</c:v>
                </c:pt>
                <c:pt idx="214" formatCode="#,##0.00">
                  <c:v>18.25</c:v>
                </c:pt>
                <c:pt idx="215" formatCode="#,##0.00">
                  <c:v>18.3</c:v>
                </c:pt>
                <c:pt idx="216" formatCode="#,##0.00">
                  <c:v>18.5</c:v>
                </c:pt>
                <c:pt idx="217" formatCode="#,##0.00">
                  <c:v>18.3</c:v>
                </c:pt>
                <c:pt idx="218" formatCode="#,##0.00">
                  <c:v>18.55</c:v>
                </c:pt>
                <c:pt idx="219" formatCode="#,##0.00">
                  <c:v>18.5</c:v>
                </c:pt>
                <c:pt idx="220" formatCode="#,##0.00">
                  <c:v>19.5</c:v>
                </c:pt>
                <c:pt idx="221" formatCode="#,##0.00">
                  <c:v>21</c:v>
                </c:pt>
                <c:pt idx="222" formatCode="#,##0.00">
                  <c:v>20.5</c:v>
                </c:pt>
                <c:pt idx="223" formatCode="#,##0.00">
                  <c:v>20.399999999999999</c:v>
                </c:pt>
                <c:pt idx="224" formatCode="#,##0.00">
                  <c:v>20.6</c:v>
                </c:pt>
                <c:pt idx="225" formatCode="#,##0.00">
                  <c:v>20.6</c:v>
                </c:pt>
                <c:pt idx="226" formatCode="#,##0.00">
                  <c:v>20.399999999999999</c:v>
                </c:pt>
                <c:pt idx="227" formatCode="#,##0.00">
                  <c:v>20.399999999999999</c:v>
                </c:pt>
                <c:pt idx="228" formatCode="#,##0.00">
                  <c:v>20.6</c:v>
                </c:pt>
                <c:pt idx="229" formatCode="#,##0.00">
                  <c:v>20.6</c:v>
                </c:pt>
                <c:pt idx="230" formatCode="#,##0.00">
                  <c:v>20.6</c:v>
                </c:pt>
                <c:pt idx="231" formatCode="#,##0.00">
                  <c:v>20.8</c:v>
                </c:pt>
                <c:pt idx="232" formatCode="#,##0.00">
                  <c:v>20.8</c:v>
                </c:pt>
                <c:pt idx="233" formatCode="#,##0.00">
                  <c:v>20.8</c:v>
                </c:pt>
                <c:pt idx="234" formatCode="#,##0.00">
                  <c:v>21.2</c:v>
                </c:pt>
                <c:pt idx="235" formatCode="#,##0.00">
                  <c:v>21</c:v>
                </c:pt>
                <c:pt idx="236" formatCode="#,##0.00">
                  <c:v>21</c:v>
                </c:pt>
                <c:pt idx="237" formatCode="#,##0.00">
                  <c:v>21.5</c:v>
                </c:pt>
                <c:pt idx="238" formatCode="#,##0.00">
                  <c:v>21.4</c:v>
                </c:pt>
                <c:pt idx="239" formatCode="#,##0.00">
                  <c:v>21.3</c:v>
                </c:pt>
                <c:pt idx="240" formatCode="#,##0.00">
                  <c:v>21.1</c:v>
                </c:pt>
                <c:pt idx="241" formatCode="#,##0.00">
                  <c:v>21.2</c:v>
                </c:pt>
                <c:pt idx="242" formatCode="#,##0.00">
                  <c:v>21.1</c:v>
                </c:pt>
                <c:pt idx="243" formatCode="#,##0.00">
                  <c:v>21.4</c:v>
                </c:pt>
                <c:pt idx="244" formatCode="#,##0.00">
                  <c:v>21.4</c:v>
                </c:pt>
                <c:pt idx="245" formatCode="#,##0.00">
                  <c:v>21.7</c:v>
                </c:pt>
                <c:pt idx="246" formatCode="#,##0.00">
                  <c:v>22.1</c:v>
                </c:pt>
                <c:pt idx="247" formatCode="#,##0.00">
                  <c:v>22.1</c:v>
                </c:pt>
                <c:pt idx="248" formatCode="#,##0.00">
                  <c:v>22.2</c:v>
                </c:pt>
                <c:pt idx="249" formatCode="#,##0.00">
                  <c:v>21.9</c:v>
                </c:pt>
                <c:pt idx="250" formatCode="#,##0.00">
                  <c:v>21.6</c:v>
                </c:pt>
                <c:pt idx="251" formatCode="#,##0.00">
                  <c:v>21.7</c:v>
                </c:pt>
                <c:pt idx="252" formatCode="#,##0.00">
                  <c:v>22.1</c:v>
                </c:pt>
                <c:pt idx="253" formatCode="#,##0.00">
                  <c:v>22.6</c:v>
                </c:pt>
                <c:pt idx="254" formatCode="#,##0.00">
                  <c:v>23</c:v>
                </c:pt>
                <c:pt idx="255" formatCode="#,##0.00">
                  <c:v>22.9</c:v>
                </c:pt>
                <c:pt idx="256" formatCode="#,##0.00">
                  <c:v>23</c:v>
                </c:pt>
                <c:pt idx="257" formatCode="#,##0.00">
                  <c:v>22.9</c:v>
                </c:pt>
                <c:pt idx="258" formatCode="#,##0.00">
                  <c:v>22.9</c:v>
                </c:pt>
                <c:pt idx="259" formatCode="#,##0.00">
                  <c:v>22.8</c:v>
                </c:pt>
                <c:pt idx="260" formatCode="#,##0.00">
                  <c:v>22.4</c:v>
                </c:pt>
                <c:pt idx="261" formatCode="#,##0.00">
                  <c:v>21</c:v>
                </c:pt>
                <c:pt idx="262" formatCode="#,##0.00">
                  <c:v>21.8</c:v>
                </c:pt>
                <c:pt idx="263" formatCode="#,##0.00">
                  <c:v>21.8</c:v>
                </c:pt>
                <c:pt idx="264" formatCode="#,##0.00">
                  <c:v>21.6</c:v>
                </c:pt>
                <c:pt idx="265" formatCode="#,##0.00">
                  <c:v>21.6</c:v>
                </c:pt>
                <c:pt idx="266" formatCode="#,##0.00">
                  <c:v>21.6</c:v>
                </c:pt>
                <c:pt idx="267" formatCode="#,##0.00">
                  <c:v>21.7</c:v>
                </c:pt>
                <c:pt idx="268" formatCode="#,##0.00">
                  <c:v>22.1</c:v>
                </c:pt>
                <c:pt idx="269" formatCode="#,##0.00">
                  <c:v>22.1</c:v>
                </c:pt>
                <c:pt idx="270" formatCode="#,##0.00">
                  <c:v>22</c:v>
                </c:pt>
                <c:pt idx="271" formatCode="#,##0.00">
                  <c:v>21.9</c:v>
                </c:pt>
                <c:pt idx="272" formatCode="#,##0.00">
                  <c:v>21.7</c:v>
                </c:pt>
                <c:pt idx="273" formatCode="#,##0.00">
                  <c:v>21.5</c:v>
                </c:pt>
                <c:pt idx="274" formatCode="#,##0.00">
                  <c:v>21.6</c:v>
                </c:pt>
                <c:pt idx="275" formatCode="#,##0.00">
                  <c:v>21.8</c:v>
                </c:pt>
                <c:pt idx="276" formatCode="#,##0.00">
                  <c:v>22</c:v>
                </c:pt>
                <c:pt idx="277" formatCode="#,##0.00">
                  <c:v>22.1</c:v>
                </c:pt>
                <c:pt idx="278" formatCode="#,##0.00">
                  <c:v>22</c:v>
                </c:pt>
                <c:pt idx="279" formatCode="#,##0.00">
                  <c:v>22.3</c:v>
                </c:pt>
                <c:pt idx="280" formatCode="#,##0.00">
                  <c:v>22.5</c:v>
                </c:pt>
                <c:pt idx="281" formatCode="#,##0.00">
                  <c:v>22.7</c:v>
                </c:pt>
                <c:pt idx="282" formatCode="#,##0.00">
                  <c:v>23.1</c:v>
                </c:pt>
                <c:pt idx="283" formatCode="#,##0.00">
                  <c:v>23</c:v>
                </c:pt>
                <c:pt idx="284" formatCode="#,##0.00">
                  <c:v>23.1</c:v>
                </c:pt>
                <c:pt idx="285" formatCode="#,##0.00">
                  <c:v>23.5</c:v>
                </c:pt>
                <c:pt idx="286" formatCode="#,##0.00">
                  <c:v>23.4</c:v>
                </c:pt>
                <c:pt idx="287" formatCode="#,##0.00">
                  <c:v>23.4</c:v>
                </c:pt>
                <c:pt idx="288" formatCode="#,##0.00">
                  <c:v>23.6</c:v>
                </c:pt>
                <c:pt idx="289" formatCode="#,##0.00">
                  <c:v>24</c:v>
                </c:pt>
                <c:pt idx="290" formatCode="#,##0.00">
                  <c:v>24.9</c:v>
                </c:pt>
                <c:pt idx="291" formatCode="#,##0.00">
                  <c:v>25.3</c:v>
                </c:pt>
                <c:pt idx="292" formatCode="#,##0.00">
                  <c:v>26.2</c:v>
                </c:pt>
                <c:pt idx="293" formatCode="#,##0.00">
                  <c:v>26.8</c:v>
                </c:pt>
                <c:pt idx="294" formatCode="#,##0.00">
                  <c:v>27.4</c:v>
                </c:pt>
                <c:pt idx="295" formatCode="#,##0.00">
                  <c:v>27.6</c:v>
                </c:pt>
                <c:pt idx="296" formatCode="#,##0.00">
                  <c:v>27.1</c:v>
                </c:pt>
                <c:pt idx="297" formatCode="#,##0.00">
                  <c:v>26.3</c:v>
                </c:pt>
                <c:pt idx="298" formatCode="#,##0.00">
                  <c:v>26</c:v>
                </c:pt>
                <c:pt idx="299" formatCode="#,##0.00">
                  <c:v>25.5</c:v>
                </c:pt>
                <c:pt idx="300" formatCode="#,##0.00">
                  <c:v>24.9</c:v>
                </c:pt>
                <c:pt idx="301" formatCode="#,##0.00">
                  <c:v>25.5</c:v>
                </c:pt>
                <c:pt idx="302" formatCode="#,##0.00">
                  <c:v>24.7</c:v>
                </c:pt>
                <c:pt idx="303" formatCode="#,##0.00">
                  <c:v>25</c:v>
                </c:pt>
                <c:pt idx="304" formatCode="#,##0.00">
                  <c:v>25.1</c:v>
                </c:pt>
                <c:pt idx="305" formatCode="#,##0.00">
                  <c:v>24.6</c:v>
                </c:pt>
                <c:pt idx="306" formatCode="#,##0.00">
                  <c:v>24.8</c:v>
                </c:pt>
                <c:pt idx="307" formatCode="#,##0.00">
                  <c:v>25.3</c:v>
                </c:pt>
                <c:pt idx="308" formatCode="#,##0.00">
                  <c:v>25.2</c:v>
                </c:pt>
                <c:pt idx="309" formatCode="#,##0.00">
                  <c:v>23.1</c:v>
                </c:pt>
                <c:pt idx="310" formatCode="#,##0.00">
                  <c:v>23.4</c:v>
                </c:pt>
                <c:pt idx="311" formatCode="#,##0.00">
                  <c:v>23.6</c:v>
                </c:pt>
                <c:pt idx="312" formatCode="#,##0.00">
                  <c:v>23.3</c:v>
                </c:pt>
                <c:pt idx="313" formatCode="#,##0.00">
                  <c:v>23.6</c:v>
                </c:pt>
                <c:pt idx="314" formatCode="#,##0.00">
                  <c:v>23.8</c:v>
                </c:pt>
                <c:pt idx="315" formatCode="#,##0.00">
                  <c:v>25.1</c:v>
                </c:pt>
                <c:pt idx="316" formatCode="#,##0.00">
                  <c:v>24.8</c:v>
                </c:pt>
                <c:pt idx="317" formatCode="#,##0.00">
                  <c:v>24.9</c:v>
                </c:pt>
                <c:pt idx="318" formatCode="#,##0.00">
                  <c:v>25.1</c:v>
                </c:pt>
                <c:pt idx="319" formatCode="#,##0.00">
                  <c:v>25.3</c:v>
                </c:pt>
                <c:pt idx="320" formatCode="#,##0.00">
                  <c:v>24.8</c:v>
                </c:pt>
                <c:pt idx="321" formatCode="#,##0.00">
                  <c:v>25</c:v>
                </c:pt>
                <c:pt idx="322" formatCode="#,##0.00">
                  <c:v>24.8</c:v>
                </c:pt>
                <c:pt idx="323" formatCode="#,##0.00">
                  <c:v>25</c:v>
                </c:pt>
                <c:pt idx="324" formatCode="#,##0.00">
                  <c:v>24.9</c:v>
                </c:pt>
                <c:pt idx="325" formatCode="#,##0.00">
                  <c:v>25</c:v>
                </c:pt>
                <c:pt idx="326" formatCode="#,##0.00">
                  <c:v>25</c:v>
                </c:pt>
                <c:pt idx="327" formatCode="#,##0.00">
                  <c:v>25.1</c:v>
                </c:pt>
                <c:pt idx="328" formatCode="#,##0.00">
                  <c:v>25.4</c:v>
                </c:pt>
                <c:pt idx="329" formatCode="#,##0.00">
                  <c:v>25.6</c:v>
                </c:pt>
                <c:pt idx="330" formatCode="#,##0.00">
                  <c:v>25.1</c:v>
                </c:pt>
                <c:pt idx="331" formatCode="#,##0.00">
                  <c:v>25.1</c:v>
                </c:pt>
                <c:pt idx="332" formatCode="#,##0.00">
                  <c:v>24.8</c:v>
                </c:pt>
                <c:pt idx="333" formatCode="#,##0.00">
                  <c:v>25.1</c:v>
                </c:pt>
                <c:pt idx="334" formatCode="#,##0.00">
                  <c:v>25.1</c:v>
                </c:pt>
                <c:pt idx="335" formatCode="#,##0.00">
                  <c:v>24.9</c:v>
                </c:pt>
                <c:pt idx="336" formatCode="#,##0.00">
                  <c:v>24.8</c:v>
                </c:pt>
                <c:pt idx="337" formatCode="#,##0.00">
                  <c:v>24.7</c:v>
                </c:pt>
                <c:pt idx="338" formatCode="#,##0.00">
                  <c:v>24.4</c:v>
                </c:pt>
                <c:pt idx="339" formatCode="#,##0.00">
                  <c:v>24.2</c:v>
                </c:pt>
                <c:pt idx="340" formatCode="#,##0.00">
                  <c:v>24.2</c:v>
                </c:pt>
                <c:pt idx="341" formatCode="#,##0.00">
                  <c:v>24.2</c:v>
                </c:pt>
                <c:pt idx="342" formatCode="#,##0.00">
                  <c:v>24.9</c:v>
                </c:pt>
                <c:pt idx="343" formatCode="#,##0.00">
                  <c:v>24.9</c:v>
                </c:pt>
                <c:pt idx="344" formatCode="#,##0.00">
                  <c:v>25.1</c:v>
                </c:pt>
                <c:pt idx="345" formatCode="#,##0.00">
                  <c:v>25.2</c:v>
                </c:pt>
                <c:pt idx="346" formatCode="#,##0.00">
                  <c:v>25.4</c:v>
                </c:pt>
                <c:pt idx="347" formatCode="#,##0.00">
                  <c:v>25.4</c:v>
                </c:pt>
                <c:pt idx="348" formatCode="#,##0.00">
                  <c:v>25.7</c:v>
                </c:pt>
                <c:pt idx="349" formatCode="#,##0.00">
                  <c:v>25.3</c:v>
                </c:pt>
                <c:pt idx="350" formatCode="#,##0.00">
                  <c:v>25.3</c:v>
                </c:pt>
                <c:pt idx="351" formatCode="#,##0.00">
                  <c:v>25.5</c:v>
                </c:pt>
                <c:pt idx="352" formatCode="#,##0.00">
                  <c:v>25</c:v>
                </c:pt>
                <c:pt idx="353" formatCode="#,##0.00">
                  <c:v>24.7</c:v>
                </c:pt>
                <c:pt idx="354" formatCode="#,##0.00">
                  <c:v>24.9</c:v>
                </c:pt>
                <c:pt idx="355" formatCode="#,##0.00">
                  <c:v>24.5</c:v>
                </c:pt>
                <c:pt idx="356" formatCode="#,##0.00">
                  <c:v>24.8</c:v>
                </c:pt>
                <c:pt idx="357" formatCode="#,##0.00">
                  <c:v>24.4</c:v>
                </c:pt>
                <c:pt idx="358" formatCode="#,##0.00">
                  <c:v>24.6</c:v>
                </c:pt>
                <c:pt idx="359" formatCode="#,##0.00">
                  <c:v>24.5</c:v>
                </c:pt>
                <c:pt idx="360" formatCode="#,##0.00">
                  <c:v>24.7</c:v>
                </c:pt>
                <c:pt idx="361" formatCode="#,##0.00">
                  <c:v>24.5</c:v>
                </c:pt>
                <c:pt idx="362" formatCode="#,##0.00">
                  <c:v>24.6</c:v>
                </c:pt>
                <c:pt idx="363" formatCode="#,##0.00">
                  <c:v>25</c:v>
                </c:pt>
                <c:pt idx="364" formatCode="#,##0.00">
                  <c:v>25.2</c:v>
                </c:pt>
                <c:pt idx="365" formatCode="#,##0.00">
                  <c:v>25.2</c:v>
                </c:pt>
                <c:pt idx="366" formatCode="#,##0.00">
                  <c:v>24.9</c:v>
                </c:pt>
                <c:pt idx="367" formatCode="#,##0.00">
                  <c:v>24.7</c:v>
                </c:pt>
                <c:pt idx="368" formatCode="#,##0.00">
                  <c:v>24.6</c:v>
                </c:pt>
                <c:pt idx="369" formatCode="#,##0.00">
                  <c:v>24.7</c:v>
                </c:pt>
                <c:pt idx="370" formatCode="#,##0.00">
                  <c:v>24.3</c:v>
                </c:pt>
                <c:pt idx="371" formatCode="#,##0.00">
                  <c:v>24.5</c:v>
                </c:pt>
                <c:pt idx="372" formatCode="#,##0.00">
                  <c:v>25.2</c:v>
                </c:pt>
                <c:pt idx="373" formatCode="#,##0.00">
                  <c:v>25.4</c:v>
                </c:pt>
                <c:pt idx="374" formatCode="#,##0.00">
                  <c:v>25.2</c:v>
                </c:pt>
                <c:pt idx="375" formatCode="#,##0.00">
                  <c:v>25.5</c:v>
                </c:pt>
                <c:pt idx="376" formatCode="#,##0.00">
                  <c:v>25.5</c:v>
                </c:pt>
                <c:pt idx="377" formatCode="#,##0.00">
                  <c:v>25.7</c:v>
                </c:pt>
                <c:pt idx="378" formatCode="#,##0.00">
                  <c:v>25.5</c:v>
                </c:pt>
                <c:pt idx="379" formatCode="#,##0.00">
                  <c:v>25</c:v>
                </c:pt>
                <c:pt idx="380" formatCode="#,##0.00">
                  <c:v>25.6</c:v>
                </c:pt>
                <c:pt idx="381" formatCode="#,##0.00">
                  <c:v>25.8</c:v>
                </c:pt>
                <c:pt idx="382" formatCode="#,##0.00">
                  <c:v>26.1</c:v>
                </c:pt>
                <c:pt idx="383" formatCode="#,##0.00">
                  <c:v>26.4</c:v>
                </c:pt>
                <c:pt idx="384" formatCode="#,##0.00">
                  <c:v>26.7</c:v>
                </c:pt>
                <c:pt idx="385" formatCode="#,##0.00">
                  <c:v>27.1</c:v>
                </c:pt>
                <c:pt idx="386" formatCode="#,##0.00">
                  <c:v>27.1</c:v>
                </c:pt>
                <c:pt idx="387" formatCode="#,##0.00">
                  <c:v>27.3</c:v>
                </c:pt>
                <c:pt idx="388" formatCode="#,##0.00">
                  <c:v>27.5</c:v>
                </c:pt>
                <c:pt idx="389" formatCode="#,##0.00">
                  <c:v>27.7</c:v>
                </c:pt>
                <c:pt idx="390" formatCode="#,##0.00">
                  <c:v>27.4</c:v>
                </c:pt>
                <c:pt idx="391" formatCode="#,##0.00">
                  <c:v>27.2</c:v>
                </c:pt>
                <c:pt idx="392" formatCode="#,##0.00">
                  <c:v>27.6</c:v>
                </c:pt>
                <c:pt idx="393" formatCode="#,##0.00">
                  <c:v>27.5</c:v>
                </c:pt>
                <c:pt idx="394" formatCode="#,##0.00">
                  <c:v>27.4</c:v>
                </c:pt>
                <c:pt idx="395" formatCode="#,##0.00">
                  <c:v>27.2</c:v>
                </c:pt>
                <c:pt idx="396" formatCode="#,##0.00">
                  <c:v>27.5</c:v>
                </c:pt>
                <c:pt idx="397" formatCode="#,##0.00">
                  <c:v>27.2</c:v>
                </c:pt>
                <c:pt idx="398" formatCode="#,##0.00">
                  <c:v>27</c:v>
                </c:pt>
                <c:pt idx="399" formatCode="#,##0.00">
                  <c:v>27</c:v>
                </c:pt>
                <c:pt idx="400" formatCode="#,##0.00">
                  <c:v>26.8</c:v>
                </c:pt>
                <c:pt idx="401" formatCode="#,##0.00">
                  <c:v>27</c:v>
                </c:pt>
                <c:pt idx="402" formatCode="#,##0.00">
                  <c:v>27</c:v>
                </c:pt>
                <c:pt idx="403" formatCode="#,##0.00">
                  <c:v>27</c:v>
                </c:pt>
                <c:pt idx="404" formatCode="#,##0.00">
                  <c:v>27</c:v>
                </c:pt>
                <c:pt idx="405" formatCode="#,##0.00">
                  <c:v>27</c:v>
                </c:pt>
                <c:pt idx="406" formatCode="#,##0.00">
                  <c:v>27</c:v>
                </c:pt>
                <c:pt idx="407" formatCode="#,##0.00">
                  <c:v>26.2</c:v>
                </c:pt>
                <c:pt idx="408" formatCode="#,##0.00">
                  <c:v>25.7</c:v>
                </c:pt>
                <c:pt idx="409" formatCode="#,##0.00">
                  <c:v>26.4</c:v>
                </c:pt>
                <c:pt idx="410" formatCode="#,##0.00">
                  <c:v>26.4</c:v>
                </c:pt>
                <c:pt idx="411" formatCode="#,##0.00">
                  <c:v>26.6</c:v>
                </c:pt>
                <c:pt idx="412" formatCode="#,##0.00">
                  <c:v>26.4</c:v>
                </c:pt>
                <c:pt idx="413" formatCode="#,##0.00">
                  <c:v>26.6</c:v>
                </c:pt>
                <c:pt idx="414" formatCode="#,##0.00">
                  <c:v>26.7</c:v>
                </c:pt>
                <c:pt idx="415" formatCode="#,##0.00">
                  <c:v>26.8</c:v>
                </c:pt>
                <c:pt idx="416" formatCode="#,##0.00">
                  <c:v>26.4</c:v>
                </c:pt>
                <c:pt idx="417" formatCode="#,##0.00">
                  <c:v>26.2</c:v>
                </c:pt>
                <c:pt idx="418" formatCode="#,##0.00">
                  <c:v>26.2</c:v>
                </c:pt>
                <c:pt idx="419" formatCode="#,##0.00">
                  <c:v>26.3</c:v>
                </c:pt>
                <c:pt idx="420" formatCode="#,##0.00">
                  <c:v>26.2</c:v>
                </c:pt>
                <c:pt idx="421" formatCode="#,##0.00">
                  <c:v>26.4</c:v>
                </c:pt>
                <c:pt idx="422" formatCode="#,##0.00">
                  <c:v>26.3</c:v>
                </c:pt>
                <c:pt idx="423" formatCode="#,##0.00">
                  <c:v>27</c:v>
                </c:pt>
                <c:pt idx="424" formatCode="#,##0.00">
                  <c:v>27.4</c:v>
                </c:pt>
                <c:pt idx="425" formatCode="#,##0.00">
                  <c:v>27.3</c:v>
                </c:pt>
                <c:pt idx="426" formatCode="#,##0.00">
                  <c:v>27.1</c:v>
                </c:pt>
                <c:pt idx="427" formatCode="#,##0.00">
                  <c:v>27.2</c:v>
                </c:pt>
                <c:pt idx="428" formatCode="#,##0.00">
                  <c:v>27.7</c:v>
                </c:pt>
                <c:pt idx="429" formatCode="#,##0.00">
                  <c:v>28.3</c:v>
                </c:pt>
                <c:pt idx="430" formatCode="#,##0.00">
                  <c:v>29</c:v>
                </c:pt>
                <c:pt idx="431" formatCode="#,##0.00">
                  <c:v>29.4</c:v>
                </c:pt>
                <c:pt idx="432" formatCode="#,##0.00">
                  <c:v>29.6</c:v>
                </c:pt>
                <c:pt idx="433" formatCode="#,##0.00">
                  <c:v>29.3</c:v>
                </c:pt>
                <c:pt idx="434" formatCode="#,##0.00">
                  <c:v>29.5</c:v>
                </c:pt>
                <c:pt idx="435" formatCode="#,##0.00">
                  <c:v>29.2</c:v>
                </c:pt>
                <c:pt idx="436" formatCode="#,##0.00">
                  <c:v>29.6</c:v>
                </c:pt>
                <c:pt idx="437" formatCode="#,##0.00">
                  <c:v>29.6</c:v>
                </c:pt>
                <c:pt idx="438" formatCode="#,##0.00">
                  <c:v>30.1</c:v>
                </c:pt>
                <c:pt idx="439" formatCode="#,##0.00">
                  <c:v>30.4</c:v>
                </c:pt>
                <c:pt idx="440" formatCode="#,##0.00">
                  <c:v>30.6</c:v>
                </c:pt>
                <c:pt idx="441" formatCode="#,##0.00">
                  <c:v>30.2</c:v>
                </c:pt>
                <c:pt idx="442" formatCode="#,##0.00">
                  <c:v>30.3</c:v>
                </c:pt>
                <c:pt idx="443" formatCode="#,##0.00">
                  <c:v>30.4</c:v>
                </c:pt>
                <c:pt idx="444" formatCode="#,##0.00">
                  <c:v>29.3</c:v>
                </c:pt>
                <c:pt idx="445" formatCode="#,##0.00">
                  <c:v>29.7</c:v>
                </c:pt>
                <c:pt idx="446" formatCode="#,##0.00">
                  <c:v>30</c:v>
                </c:pt>
                <c:pt idx="447" formatCode="#,##0.00">
                  <c:v>29.6</c:v>
                </c:pt>
                <c:pt idx="448" formatCode="#,##0.00">
                  <c:v>29.1</c:v>
                </c:pt>
                <c:pt idx="449" formatCode="#,##0.00">
                  <c:v>29</c:v>
                </c:pt>
                <c:pt idx="450" formatCode="#,##0.00">
                  <c:v>29.6</c:v>
                </c:pt>
                <c:pt idx="451" formatCode="#,##0.00">
                  <c:v>29.4</c:v>
                </c:pt>
                <c:pt idx="452" formatCode="#,##0.00">
                  <c:v>29.1</c:v>
                </c:pt>
                <c:pt idx="453" formatCode="#,##0.00">
                  <c:v>28.8</c:v>
                </c:pt>
                <c:pt idx="454" formatCode="#,##0.00">
                  <c:v>28.7</c:v>
                </c:pt>
                <c:pt idx="455" formatCode="#,##0.00">
                  <c:v>29</c:v>
                </c:pt>
                <c:pt idx="456" formatCode="#,##0.00">
                  <c:v>29.2</c:v>
                </c:pt>
                <c:pt idx="457" formatCode="#,##0.00">
                  <c:v>29</c:v>
                </c:pt>
                <c:pt idx="458" formatCode="#,##0.00">
                  <c:v>29</c:v>
                </c:pt>
                <c:pt idx="459" formatCode="#,##0.00">
                  <c:v>29.4</c:v>
                </c:pt>
                <c:pt idx="460" formatCode="#,##0.00">
                  <c:v>29.4</c:v>
                </c:pt>
                <c:pt idx="461" formatCode="#,##0.00">
                  <c:v>29.2</c:v>
                </c:pt>
                <c:pt idx="462" formatCode="#,##0.00">
                  <c:v>29.1</c:v>
                </c:pt>
                <c:pt idx="463" formatCode="#,##0.00">
                  <c:v>29.2</c:v>
                </c:pt>
                <c:pt idx="464" formatCode="#,##0.00">
                  <c:v>29.7</c:v>
                </c:pt>
                <c:pt idx="465" formatCode="#,##0.00">
                  <c:v>29.9</c:v>
                </c:pt>
                <c:pt idx="466" formatCode="#,##0.00">
                  <c:v>30</c:v>
                </c:pt>
                <c:pt idx="467" formatCode="#,##0.00">
                  <c:v>30.1</c:v>
                </c:pt>
                <c:pt idx="468" formatCode="#,##0.00">
                  <c:v>30.2</c:v>
                </c:pt>
                <c:pt idx="469" formatCode="#,##0.00">
                  <c:v>30.3</c:v>
                </c:pt>
                <c:pt idx="470" formatCode="#,##0.00">
                  <c:v>29.6</c:v>
                </c:pt>
                <c:pt idx="471" formatCode="#,##0.00">
                  <c:v>29</c:v>
                </c:pt>
                <c:pt idx="472" formatCode="#,##0.00">
                  <c:v>29.3</c:v>
                </c:pt>
                <c:pt idx="473" formatCode="#,##0.00">
                  <c:v>29.1</c:v>
                </c:pt>
                <c:pt idx="474" formatCode="#,##0.00">
                  <c:v>28.5</c:v>
                </c:pt>
                <c:pt idx="475" formatCode="#,##0.00">
                  <c:v>28.6</c:v>
                </c:pt>
                <c:pt idx="476" formatCode="#,##0.00">
                  <c:v>28.8</c:v>
                </c:pt>
                <c:pt idx="477" formatCode="#,##0.00">
                  <c:v>29</c:v>
                </c:pt>
                <c:pt idx="478" formatCode="#,##0.00">
                  <c:v>28.6</c:v>
                </c:pt>
                <c:pt idx="479" formatCode="#,##0.00">
                  <c:v>28.8</c:v>
                </c:pt>
                <c:pt idx="480" formatCode="#,##0.00">
                  <c:v>28.8</c:v>
                </c:pt>
                <c:pt idx="481" formatCode="#,##0.00">
                  <c:v>29.1</c:v>
                </c:pt>
                <c:pt idx="482" formatCode="#,##0.00">
                  <c:v>29.5</c:v>
                </c:pt>
                <c:pt idx="483" formatCode="#,##0.00">
                  <c:v>29.5</c:v>
                </c:pt>
                <c:pt idx="484" formatCode="#,##0.00">
                  <c:v>29.5</c:v>
                </c:pt>
                <c:pt idx="485" formatCode="#,##0.00">
                  <c:v>29.5</c:v>
                </c:pt>
                <c:pt idx="486" formatCode="#,##0.00">
                  <c:v>29.5</c:v>
                </c:pt>
                <c:pt idx="487" formatCode="#,##0.00">
                  <c:v>30.4</c:v>
                </c:pt>
                <c:pt idx="488" formatCode="#,##0.00">
                  <c:v>30.2</c:v>
                </c:pt>
                <c:pt idx="489" formatCode="#,##0.00">
                  <c:v>30.3</c:v>
                </c:pt>
                <c:pt idx="490" formatCode="#,##0.00">
                  <c:v>30.2</c:v>
                </c:pt>
                <c:pt idx="491" formatCode="#,##0.00">
                  <c:v>30.5</c:v>
                </c:pt>
                <c:pt idx="492" formatCode="#,##0.00">
                  <c:v>30.2</c:v>
                </c:pt>
                <c:pt idx="493" formatCode="#,##0.00">
                  <c:v>29.9</c:v>
                </c:pt>
                <c:pt idx="494" formatCode="#,##0.00">
                  <c:v>29.6</c:v>
                </c:pt>
                <c:pt idx="495" formatCode="#,##0.00">
                  <c:v>28.9</c:v>
                </c:pt>
                <c:pt idx="496" formatCode="#,##0.00">
                  <c:v>28.7</c:v>
                </c:pt>
                <c:pt idx="497" formatCode="#,##0.00">
                  <c:v>28.8</c:v>
                </c:pt>
                <c:pt idx="498" formatCode="#,##0.00">
                  <c:v>29</c:v>
                </c:pt>
                <c:pt idx="499" formatCode="#,##0.00">
                  <c:v>30.1</c:v>
                </c:pt>
                <c:pt idx="500" formatCode="#,##0.00">
                  <c:v>29.8</c:v>
                </c:pt>
                <c:pt idx="501" formatCode="#,##0.00">
                  <c:v>29.8</c:v>
                </c:pt>
                <c:pt idx="502" formatCode="#,##0.00">
                  <c:v>29.9</c:v>
                </c:pt>
                <c:pt idx="503" formatCode="#,##0.00">
                  <c:v>30.1</c:v>
                </c:pt>
                <c:pt idx="504" formatCode="#,##0.00">
                  <c:v>30.5</c:v>
                </c:pt>
                <c:pt idx="505" formatCode="#,##0.00">
                  <c:v>31.6</c:v>
                </c:pt>
                <c:pt idx="506" formatCode="#,##0.00">
                  <c:v>31.7</c:v>
                </c:pt>
                <c:pt idx="507" formatCode="#,##0.00">
                  <c:v>31.8</c:v>
                </c:pt>
                <c:pt idx="508" formatCode="#,##0.00">
                  <c:v>32.200000000000003</c:v>
                </c:pt>
                <c:pt idx="509" formatCode="#,##0.00">
                  <c:v>32</c:v>
                </c:pt>
                <c:pt idx="510" formatCode="#,##0.00">
                  <c:v>31.6</c:v>
                </c:pt>
                <c:pt idx="511" formatCode="#,##0.00">
                  <c:v>31.7</c:v>
                </c:pt>
                <c:pt idx="512" formatCode="#,##0.00">
                  <c:v>31.9</c:v>
                </c:pt>
                <c:pt idx="513" formatCode="#,##0.00">
                  <c:v>32</c:v>
                </c:pt>
                <c:pt idx="514" formatCode="#,##0.00">
                  <c:v>31.7</c:v>
                </c:pt>
                <c:pt idx="515" formatCode="#,##0.00">
                  <c:v>31.7</c:v>
                </c:pt>
                <c:pt idx="516" formatCode="#,##0.00">
                  <c:v>31.4</c:v>
                </c:pt>
                <c:pt idx="517" formatCode="#,##0.00">
                  <c:v>30.4</c:v>
                </c:pt>
                <c:pt idx="518" formatCode="#,##0.00">
                  <c:v>30.5</c:v>
                </c:pt>
                <c:pt idx="519" formatCode="#,##0.00">
                  <c:v>30.7</c:v>
                </c:pt>
                <c:pt idx="520" formatCode="#,##0.00">
                  <c:v>30.5</c:v>
                </c:pt>
                <c:pt idx="521" formatCode="#,##0.00">
                  <c:v>30.5</c:v>
                </c:pt>
                <c:pt idx="522" formatCode="#,##0.00">
                  <c:v>30.5</c:v>
                </c:pt>
                <c:pt idx="523" formatCode="#,##0.00">
                  <c:v>29.7</c:v>
                </c:pt>
                <c:pt idx="524" formatCode="#,##0.00">
                  <c:v>30.3</c:v>
                </c:pt>
                <c:pt idx="525" formatCode="#,##0.00">
                  <c:v>30.6</c:v>
                </c:pt>
                <c:pt idx="526" formatCode="#,##0.00">
                  <c:v>30.7</c:v>
                </c:pt>
                <c:pt idx="527" formatCode="#,##0.00">
                  <c:v>30.7</c:v>
                </c:pt>
                <c:pt idx="528" formatCode="#,##0.00">
                  <c:v>31</c:v>
                </c:pt>
                <c:pt idx="529" formatCode="#,##0.00">
                  <c:v>31.2</c:v>
                </c:pt>
                <c:pt idx="530" formatCode="#,##0.00">
                  <c:v>30.8</c:v>
                </c:pt>
                <c:pt idx="531" formatCode="#,##0.00">
                  <c:v>30.5</c:v>
                </c:pt>
                <c:pt idx="532" formatCode="#,##0.00">
                  <c:v>30.5</c:v>
                </c:pt>
                <c:pt idx="533" formatCode="#,##0.00">
                  <c:v>31.2</c:v>
                </c:pt>
                <c:pt idx="534" formatCode="#,##0.00">
                  <c:v>31.4</c:v>
                </c:pt>
                <c:pt idx="535" formatCode="#,##0.00">
                  <c:v>31.2</c:v>
                </c:pt>
                <c:pt idx="536" formatCode="#,##0.00">
                  <c:v>31.2</c:v>
                </c:pt>
                <c:pt idx="537" formatCode="#,##0.00">
                  <c:v>31.3</c:v>
                </c:pt>
                <c:pt idx="538" formatCode="#,##0.00">
                  <c:v>31.3</c:v>
                </c:pt>
                <c:pt idx="539" formatCode="#,##0.00">
                  <c:v>30.5</c:v>
                </c:pt>
                <c:pt idx="540" formatCode="#,##0.00">
                  <c:v>30</c:v>
                </c:pt>
                <c:pt idx="541" formatCode="#,##0.00">
                  <c:v>29.9</c:v>
                </c:pt>
                <c:pt idx="542" formatCode="#,##0.00">
                  <c:v>29.6</c:v>
                </c:pt>
                <c:pt idx="543" formatCode="#,##0.00">
                  <c:v>29.6</c:v>
                </c:pt>
                <c:pt idx="544" formatCode="#,##0.00">
                  <c:v>29.8</c:v>
                </c:pt>
                <c:pt idx="545" formatCode="#,##0.00">
                  <c:v>29.3</c:v>
                </c:pt>
                <c:pt idx="546" formatCode="#,##0.00">
                  <c:v>29.4</c:v>
                </c:pt>
                <c:pt idx="547" formatCode="#,##0.00">
                  <c:v>29.6</c:v>
                </c:pt>
                <c:pt idx="548" formatCode="#,##0.00">
                  <c:v>29.5</c:v>
                </c:pt>
                <c:pt idx="549" formatCode="#,##0.00">
                  <c:v>29.2</c:v>
                </c:pt>
                <c:pt idx="550" formatCode="#,##0.00">
                  <c:v>29.2</c:v>
                </c:pt>
                <c:pt idx="551" formatCode="#,##0.00">
                  <c:v>29</c:v>
                </c:pt>
                <c:pt idx="552" formatCode="#,##0.00">
                  <c:v>29.3</c:v>
                </c:pt>
                <c:pt idx="553" formatCode="#,##0.00">
                  <c:v>29.2</c:v>
                </c:pt>
                <c:pt idx="554" formatCode="#,##0.00">
                  <c:v>29.2</c:v>
                </c:pt>
                <c:pt idx="555" formatCode="#,##0.00">
                  <c:v>29.3</c:v>
                </c:pt>
                <c:pt idx="556" formatCode="#,##0.00">
                  <c:v>29.4</c:v>
                </c:pt>
                <c:pt idx="557" formatCode="#,##0.00">
                  <c:v>29</c:v>
                </c:pt>
                <c:pt idx="558" formatCode="#,##0.00">
                  <c:v>29.2</c:v>
                </c:pt>
                <c:pt idx="559" formatCode="#,##0.00">
                  <c:v>29.3</c:v>
                </c:pt>
                <c:pt idx="560" formatCode="#,##0.00">
                  <c:v>28.5</c:v>
                </c:pt>
                <c:pt idx="561" formatCode="#,##0.00">
                  <c:v>28.2</c:v>
                </c:pt>
                <c:pt idx="562" formatCode="#,##0.00">
                  <c:v>28.55</c:v>
                </c:pt>
                <c:pt idx="563" formatCode="#,##0.00">
                  <c:v>28.8</c:v>
                </c:pt>
                <c:pt idx="564" formatCode="#,##0.00">
                  <c:v>29.7</c:v>
                </c:pt>
                <c:pt idx="565" formatCode="#,##0.00">
                  <c:v>29.5</c:v>
                </c:pt>
                <c:pt idx="566" formatCode="#,##0.00">
                  <c:v>29.05</c:v>
                </c:pt>
                <c:pt idx="567" formatCode="#,##0.00">
                  <c:v>29.15</c:v>
                </c:pt>
                <c:pt idx="568" formatCode="#,##0.00">
                  <c:v>29.55</c:v>
                </c:pt>
                <c:pt idx="569" formatCode="#,##0.00">
                  <c:v>29.55</c:v>
                </c:pt>
                <c:pt idx="570" formatCode="#,##0.00">
                  <c:v>29.1</c:v>
                </c:pt>
                <c:pt idx="571" formatCode="#,##0.00">
                  <c:v>29.15</c:v>
                </c:pt>
                <c:pt idx="572" formatCode="#,##0.00">
                  <c:v>29.1</c:v>
                </c:pt>
                <c:pt idx="573" formatCode="#,##0.00">
                  <c:v>29</c:v>
                </c:pt>
                <c:pt idx="574" formatCode="#,##0.00">
                  <c:v>29.15</c:v>
                </c:pt>
                <c:pt idx="575" formatCode="#,##0.00">
                  <c:v>29.3</c:v>
                </c:pt>
                <c:pt idx="576" formatCode="#,##0.00">
                  <c:v>29</c:v>
                </c:pt>
                <c:pt idx="577" formatCode="#,##0.00">
                  <c:v>29.1</c:v>
                </c:pt>
                <c:pt idx="578" formatCode="#,##0.00">
                  <c:v>29.05</c:v>
                </c:pt>
                <c:pt idx="579" formatCode="#,##0.00">
                  <c:v>29.3</c:v>
                </c:pt>
                <c:pt idx="580" formatCode="#,##0.00">
                  <c:v>29.4</c:v>
                </c:pt>
                <c:pt idx="581" formatCode="#,##0.00">
                  <c:v>29.3</c:v>
                </c:pt>
                <c:pt idx="582" formatCode="#,##0.00">
                  <c:v>29.5</c:v>
                </c:pt>
                <c:pt idx="583" formatCode="#,##0.00">
                  <c:v>29.5</c:v>
                </c:pt>
                <c:pt idx="584" formatCode="#,##0.00">
                  <c:v>29.35</c:v>
                </c:pt>
                <c:pt idx="585" formatCode="#,##0.00">
                  <c:v>29.5</c:v>
                </c:pt>
                <c:pt idx="586" formatCode="#,##0.00">
                  <c:v>29.35</c:v>
                </c:pt>
                <c:pt idx="587" formatCode="#,##0.00">
                  <c:v>29.15</c:v>
                </c:pt>
                <c:pt idx="588" formatCode="#,##0.00">
                  <c:v>29.3</c:v>
                </c:pt>
                <c:pt idx="589" formatCode="#,##0.00">
                  <c:v>29.2</c:v>
                </c:pt>
                <c:pt idx="590" formatCode="#,##0.00">
                  <c:v>29.65</c:v>
                </c:pt>
                <c:pt idx="591" formatCode="#,##0.00">
                  <c:v>29.65</c:v>
                </c:pt>
                <c:pt idx="592" formatCode="#,##0.00">
                  <c:v>29.6</c:v>
                </c:pt>
                <c:pt idx="593" formatCode="#,##0.00">
                  <c:v>30.5</c:v>
                </c:pt>
                <c:pt idx="594" formatCode="#,##0.00">
                  <c:v>31.2</c:v>
                </c:pt>
                <c:pt idx="595" formatCode="#,##0.00">
                  <c:v>31.2</c:v>
                </c:pt>
                <c:pt idx="596" formatCode="#,##0.00">
                  <c:v>30.85</c:v>
                </c:pt>
                <c:pt idx="597" formatCode="#,##0.00">
                  <c:v>30.75</c:v>
                </c:pt>
                <c:pt idx="598" formatCode="#,##0.00">
                  <c:v>31.6</c:v>
                </c:pt>
                <c:pt idx="599" formatCode="#,##0.00">
                  <c:v>32.5</c:v>
                </c:pt>
                <c:pt idx="600" formatCode="#,##0.00">
                  <c:v>32.5</c:v>
                </c:pt>
                <c:pt idx="601" formatCode="#,##0.00">
                  <c:v>32.799999999999997</c:v>
                </c:pt>
                <c:pt idx="602" formatCode="#,##0.00">
                  <c:v>32.35</c:v>
                </c:pt>
                <c:pt idx="603" formatCode="#,##0.00">
                  <c:v>33</c:v>
                </c:pt>
                <c:pt idx="604" formatCode="#,##0.00">
                  <c:v>33</c:v>
                </c:pt>
                <c:pt idx="605" formatCode="#,##0.00">
                  <c:v>33.200000000000003</c:v>
                </c:pt>
                <c:pt idx="606" formatCode="#,##0.00">
                  <c:v>35.700000000000003</c:v>
                </c:pt>
                <c:pt idx="607" formatCode="#,##0.00">
                  <c:v>36.799999999999997</c:v>
                </c:pt>
                <c:pt idx="608" formatCode="#,##0.00">
                  <c:v>36.5</c:v>
                </c:pt>
                <c:pt idx="609" formatCode="#,##0.00">
                  <c:v>36.15</c:v>
                </c:pt>
                <c:pt idx="610" formatCode="#,##0.00">
                  <c:v>36.4</c:v>
                </c:pt>
                <c:pt idx="611" formatCode="#,##0.00">
                  <c:v>36.200000000000003</c:v>
                </c:pt>
                <c:pt idx="612" formatCode="#,##0.00">
                  <c:v>36.5</c:v>
                </c:pt>
                <c:pt idx="613" formatCode="#,##0.00">
                  <c:v>36.4</c:v>
                </c:pt>
                <c:pt idx="614" formatCode="#,##0.00">
                  <c:v>37.299999999999997</c:v>
                </c:pt>
                <c:pt idx="615" formatCode="#,##0.00">
                  <c:v>39.6</c:v>
                </c:pt>
                <c:pt idx="616" formatCode="#,##0.00">
                  <c:v>40.200000000000003</c:v>
                </c:pt>
                <c:pt idx="617" formatCode="#,##0.00">
                  <c:v>40.5</c:v>
                </c:pt>
                <c:pt idx="618" formatCode="#,##0.00">
                  <c:v>42</c:v>
                </c:pt>
                <c:pt idx="619" formatCode="#,##0.00">
                  <c:v>41.95</c:v>
                </c:pt>
                <c:pt idx="620" formatCode="#,##0.00">
                  <c:v>41.35</c:v>
                </c:pt>
                <c:pt idx="621" formatCode="#,##0.00">
                  <c:v>41.35</c:v>
                </c:pt>
                <c:pt idx="622" formatCode="#,##0.00">
                  <c:v>41.9</c:v>
                </c:pt>
                <c:pt idx="623" formatCode="#,##0.00">
                  <c:v>41.85</c:v>
                </c:pt>
                <c:pt idx="624" formatCode="#,##0.00">
                  <c:v>42</c:v>
                </c:pt>
                <c:pt idx="625" formatCode="#,##0.00">
                  <c:v>41.9</c:v>
                </c:pt>
                <c:pt idx="626" formatCode="#,##0.00">
                  <c:v>44.4</c:v>
                </c:pt>
                <c:pt idx="627" formatCode="#,##0.00">
                  <c:v>46.8</c:v>
                </c:pt>
                <c:pt idx="628" formatCode="#,##0.00">
                  <c:v>48</c:v>
                </c:pt>
                <c:pt idx="629" formatCode="#,##0.00">
                  <c:v>47.95</c:v>
                </c:pt>
                <c:pt idx="630" formatCode="#,##0.00">
                  <c:v>47.8</c:v>
                </c:pt>
                <c:pt idx="631" formatCode="#,##0.00">
                  <c:v>47.95</c:v>
                </c:pt>
                <c:pt idx="632" formatCode="#,##0.00">
                  <c:v>48</c:v>
                </c:pt>
                <c:pt idx="633" formatCode="#,##0.00">
                  <c:v>47.8</c:v>
                </c:pt>
                <c:pt idx="634" formatCode="#,##0.00">
                  <c:v>47.8</c:v>
                </c:pt>
                <c:pt idx="635" formatCode="#,##0.00">
                  <c:v>47.7</c:v>
                </c:pt>
                <c:pt idx="636" formatCode="#,##0.00">
                  <c:v>47.2</c:v>
                </c:pt>
                <c:pt idx="637" formatCode="#,##0.00">
                  <c:v>47.1</c:v>
                </c:pt>
                <c:pt idx="638" formatCode="#,##0.00">
                  <c:v>47.6</c:v>
                </c:pt>
                <c:pt idx="639" formatCode="#,##0.00">
                  <c:v>47.9</c:v>
                </c:pt>
                <c:pt idx="640" formatCode="#,##0.00">
                  <c:v>47.8</c:v>
                </c:pt>
                <c:pt idx="641" formatCode="#,##0.00">
                  <c:v>46.5</c:v>
                </c:pt>
                <c:pt idx="642" formatCode="#,##0.00">
                  <c:v>44.95</c:v>
                </c:pt>
                <c:pt idx="643" formatCode="#,##0.00">
                  <c:v>45.15</c:v>
                </c:pt>
                <c:pt idx="644" formatCode="#,##0.00">
                  <c:v>44.95</c:v>
                </c:pt>
                <c:pt idx="645" formatCode="#,##0.00">
                  <c:v>45.4</c:v>
                </c:pt>
                <c:pt idx="646" formatCode="#,##0.00">
                  <c:v>45.9</c:v>
                </c:pt>
                <c:pt idx="647" formatCode="#,##0.00">
                  <c:v>45.75</c:v>
                </c:pt>
                <c:pt idx="648" formatCode="#,##0.00">
                  <c:v>43</c:v>
                </c:pt>
                <c:pt idx="649" formatCode="#,##0.00">
                  <c:v>43.15</c:v>
                </c:pt>
                <c:pt idx="650" formatCode="#,##0.00">
                  <c:v>43.55</c:v>
                </c:pt>
                <c:pt idx="651" formatCode="#,##0.00">
                  <c:v>44.45</c:v>
                </c:pt>
                <c:pt idx="652" formatCode="#,##0.00">
                  <c:v>44.8</c:v>
                </c:pt>
                <c:pt idx="653" formatCode="#,##0.00">
                  <c:v>46</c:v>
                </c:pt>
                <c:pt idx="654" formatCode="#,##0.00">
                  <c:v>47</c:v>
                </c:pt>
                <c:pt idx="655" formatCode="#,##0.00">
                  <c:v>46.7</c:v>
                </c:pt>
                <c:pt idx="656" formatCode="#,##0.00">
                  <c:v>47.8</c:v>
                </c:pt>
                <c:pt idx="657" formatCode="#,##0.00">
                  <c:v>48.55</c:v>
                </c:pt>
                <c:pt idx="658" formatCode="#,##0.00">
                  <c:v>48.6</c:v>
                </c:pt>
                <c:pt idx="659" formatCode="#,##0.00">
                  <c:v>48.45</c:v>
                </c:pt>
                <c:pt idx="660" formatCode="#,##0.00">
                  <c:v>47.8</c:v>
                </c:pt>
                <c:pt idx="661" formatCode="#,##0.00">
                  <c:v>47.8</c:v>
                </c:pt>
                <c:pt idx="662" formatCode="#,##0.00">
                  <c:v>47.95</c:v>
                </c:pt>
                <c:pt idx="663" formatCode="#,##0.00">
                  <c:v>46.95</c:v>
                </c:pt>
                <c:pt idx="664" formatCode="#,##0.00">
                  <c:v>47.05</c:v>
                </c:pt>
                <c:pt idx="665" formatCode="#,##0.00">
                  <c:v>46.6</c:v>
                </c:pt>
                <c:pt idx="666" formatCode="#,##0.00">
                  <c:v>46.7</c:v>
                </c:pt>
                <c:pt idx="667" formatCode="#,##0.00">
                  <c:v>45.7</c:v>
                </c:pt>
                <c:pt idx="668" formatCode="#,##0.00">
                  <c:v>44.6</c:v>
                </c:pt>
                <c:pt idx="669" formatCode="#,##0.00">
                  <c:v>43</c:v>
                </c:pt>
                <c:pt idx="670" formatCode="#,##0.00">
                  <c:v>42.85</c:v>
                </c:pt>
                <c:pt idx="671" formatCode="#,##0.00">
                  <c:v>41.95</c:v>
                </c:pt>
                <c:pt idx="672" formatCode="#,##0.00">
                  <c:v>42.1</c:v>
                </c:pt>
                <c:pt idx="673" formatCode="#,##0.00">
                  <c:v>42.1</c:v>
                </c:pt>
                <c:pt idx="674" formatCode="#,##0.00">
                  <c:v>41.9</c:v>
                </c:pt>
                <c:pt idx="675" formatCode="#,##0.00">
                  <c:v>40.700000000000003</c:v>
                </c:pt>
                <c:pt idx="676" formatCode="#,##0.00">
                  <c:v>40</c:v>
                </c:pt>
                <c:pt idx="677" formatCode="#,##0.00">
                  <c:v>40</c:v>
                </c:pt>
                <c:pt idx="678" formatCode="#,##0.00">
                  <c:v>40.35</c:v>
                </c:pt>
                <c:pt idx="679" formatCode="#,##0.00">
                  <c:v>40.25</c:v>
                </c:pt>
                <c:pt idx="680" formatCode="#,##0.00">
                  <c:v>41</c:v>
                </c:pt>
                <c:pt idx="681" formatCode="#,##0.00">
                  <c:v>41</c:v>
                </c:pt>
                <c:pt idx="682" formatCode="#,##0.00">
                  <c:v>40</c:v>
                </c:pt>
                <c:pt idx="683" formatCode="#,##0.00">
                  <c:v>38</c:v>
                </c:pt>
                <c:pt idx="684" formatCode="#,##0.00">
                  <c:v>37.75</c:v>
                </c:pt>
                <c:pt idx="685" formatCode="#,##0.00">
                  <c:v>37</c:v>
                </c:pt>
                <c:pt idx="686" formatCode="#,##0.00">
                  <c:v>36.200000000000003</c:v>
                </c:pt>
                <c:pt idx="687" formatCode="#,##0.00">
                  <c:v>36.200000000000003</c:v>
                </c:pt>
                <c:pt idx="688" formatCode="#,##0.00">
                  <c:v>36</c:v>
                </c:pt>
                <c:pt idx="689" formatCode="#,##0.00">
                  <c:v>35.85</c:v>
                </c:pt>
                <c:pt idx="690" formatCode="#,##0.00">
                  <c:v>35.549999999999997</c:v>
                </c:pt>
                <c:pt idx="691" formatCode="#,##0.00">
                  <c:v>36.35</c:v>
                </c:pt>
                <c:pt idx="692" formatCode="#,##0.00">
                  <c:v>37.9</c:v>
                </c:pt>
                <c:pt idx="693" formatCode="#,##0.00">
                  <c:v>39.299999999999997</c:v>
                </c:pt>
                <c:pt idx="694" formatCode="#,##0.00">
                  <c:v>39.4</c:v>
                </c:pt>
                <c:pt idx="695" formatCode="#,##0.00">
                  <c:v>39.6</c:v>
                </c:pt>
                <c:pt idx="696" formatCode="#,##0.00">
                  <c:v>40.75</c:v>
                </c:pt>
                <c:pt idx="697" formatCode="#,##0.00">
                  <c:v>40.200000000000003</c:v>
                </c:pt>
                <c:pt idx="698" formatCode="#,##0.00">
                  <c:v>39.700000000000003</c:v>
                </c:pt>
                <c:pt idx="699" formatCode="#,##0.00">
                  <c:v>39.299999999999997</c:v>
                </c:pt>
                <c:pt idx="700" formatCode="#,##0.00">
                  <c:v>39</c:v>
                </c:pt>
                <c:pt idx="701" formatCode="#,##0.00">
                  <c:v>38.5</c:v>
                </c:pt>
                <c:pt idx="702" formatCode="#,##0.00">
                  <c:v>39.15</c:v>
                </c:pt>
                <c:pt idx="703" formatCode="#,##0.00">
                  <c:v>39</c:v>
                </c:pt>
                <c:pt idx="704" formatCode="#,##0.00">
                  <c:v>38.6</c:v>
                </c:pt>
                <c:pt idx="705" formatCode="#,##0.00">
                  <c:v>38.85</c:v>
                </c:pt>
                <c:pt idx="706" formatCode="#,##0.00">
                  <c:v>39.049999999999997</c:v>
                </c:pt>
                <c:pt idx="707" formatCode="#,##0.00">
                  <c:v>39.25</c:v>
                </c:pt>
                <c:pt idx="708" formatCode="#,##0.00">
                  <c:v>39.450000000000003</c:v>
                </c:pt>
                <c:pt idx="709" formatCode="#,##0.00">
                  <c:v>39.25</c:v>
                </c:pt>
                <c:pt idx="710" formatCode="#,##0.00">
                  <c:v>39.1</c:v>
                </c:pt>
                <c:pt idx="711" formatCode="#,##0.00">
                  <c:v>39.200000000000003</c:v>
                </c:pt>
                <c:pt idx="712" formatCode="#,##0.00">
                  <c:v>38.5</c:v>
                </c:pt>
                <c:pt idx="713" formatCode="#,##0.00">
                  <c:v>38.450000000000003</c:v>
                </c:pt>
                <c:pt idx="714" formatCode="#,##0.00">
                  <c:v>38.5</c:v>
                </c:pt>
                <c:pt idx="715" formatCode="#,##0.00">
                  <c:v>39.299999999999997</c:v>
                </c:pt>
                <c:pt idx="716" formatCode="#,##0.00">
                  <c:v>39.299999999999997</c:v>
                </c:pt>
                <c:pt idx="717" formatCode="#,##0.00">
                  <c:v>40</c:v>
                </c:pt>
                <c:pt idx="718" formatCode="#,##0.00">
                  <c:v>40.950000000000003</c:v>
                </c:pt>
                <c:pt idx="719" formatCode="#,##0.00">
                  <c:v>42.1</c:v>
                </c:pt>
                <c:pt idx="720" formatCode="#,##0.00">
                  <c:v>43.95</c:v>
                </c:pt>
                <c:pt idx="721" formatCode="#,##0.00">
                  <c:v>43.9</c:v>
                </c:pt>
                <c:pt idx="722" formatCode="#,##0.00">
                  <c:v>42.9</c:v>
                </c:pt>
                <c:pt idx="723" formatCode="#,##0.00">
                  <c:v>40.9</c:v>
                </c:pt>
                <c:pt idx="724" formatCode="#,##0.00">
                  <c:v>41.4</c:v>
                </c:pt>
                <c:pt idx="725" formatCode="#,##0.00">
                  <c:v>41.3</c:v>
                </c:pt>
                <c:pt idx="726" formatCode="#,##0.00">
                  <c:v>40.35</c:v>
                </c:pt>
                <c:pt idx="727" formatCode="#,##0.00">
                  <c:v>38.75</c:v>
                </c:pt>
                <c:pt idx="728" formatCode="#,##0.00">
                  <c:v>39.950000000000003</c:v>
                </c:pt>
                <c:pt idx="729" formatCode="#,##0.00">
                  <c:v>39.799999999999997</c:v>
                </c:pt>
                <c:pt idx="730" formatCode="#,##0.00">
                  <c:v>38.299999999999997</c:v>
                </c:pt>
                <c:pt idx="731" formatCode="#,##0.00">
                  <c:v>37.049999999999997</c:v>
                </c:pt>
                <c:pt idx="732" formatCode="#,##0.00">
                  <c:v>37.700000000000003</c:v>
                </c:pt>
                <c:pt idx="733" formatCode="#,##0.00">
                  <c:v>35.4</c:v>
                </c:pt>
                <c:pt idx="734" formatCode="#,##0.00">
                  <c:v>36.5</c:v>
                </c:pt>
                <c:pt idx="735" formatCode="#,##0.00">
                  <c:v>36</c:v>
                </c:pt>
                <c:pt idx="736" formatCode="#,##0.00">
                  <c:v>38</c:v>
                </c:pt>
                <c:pt idx="737" formatCode="#,##0.00">
                  <c:v>39.6</c:v>
                </c:pt>
                <c:pt idx="738" formatCode="#,##0.00">
                  <c:v>40.700000000000003</c:v>
                </c:pt>
                <c:pt idx="739" formatCode="#,##0.00">
                  <c:v>40.85</c:v>
                </c:pt>
                <c:pt idx="740" formatCode="#,##0.00">
                  <c:v>40.450000000000003</c:v>
                </c:pt>
                <c:pt idx="741" formatCode="#,##0.00">
                  <c:v>39.700000000000003</c:v>
                </c:pt>
                <c:pt idx="742" formatCode="#,##0.00">
                  <c:v>39.5</c:v>
                </c:pt>
                <c:pt idx="743" formatCode="#,##0.00">
                  <c:v>38.950000000000003</c:v>
                </c:pt>
                <c:pt idx="744" formatCode="#,##0.00">
                  <c:v>37.9</c:v>
                </c:pt>
                <c:pt idx="745" formatCode="#,##0.00">
                  <c:v>37.4</c:v>
                </c:pt>
                <c:pt idx="746" formatCode="#,##0.00">
                  <c:v>38.6</c:v>
                </c:pt>
                <c:pt idx="747" formatCode="#,##0.00">
                  <c:v>39.700000000000003</c:v>
                </c:pt>
                <c:pt idx="748" formatCode="#,##0.00">
                  <c:v>39.1</c:v>
                </c:pt>
                <c:pt idx="749" formatCode="#,##0.00">
                  <c:v>37.70000000000000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0408064"/>
        <c:axId val="240631808"/>
      </c:lineChart>
      <c:catAx>
        <c:axId val="240408064"/>
        <c:scaling>
          <c:orientation val="minMax"/>
        </c:scaling>
        <c:delete val="0"/>
        <c:axPos val="b"/>
        <c:numFmt formatCode="[$-409]d\-mmm\-yy;@" sourceLinked="1"/>
        <c:majorTickMark val="none"/>
        <c:minorTickMark val="none"/>
        <c:tickLblPos val="none"/>
        <c:crossAx val="240631808"/>
        <c:crosses val="autoZero"/>
        <c:auto val="1"/>
        <c:lblAlgn val="ctr"/>
        <c:lblOffset val="100"/>
        <c:noMultiLvlLbl val="0"/>
      </c:catAx>
      <c:valAx>
        <c:axId val="240631808"/>
        <c:scaling>
          <c:orientation val="minMax"/>
          <c:min val="0"/>
        </c:scaling>
        <c:delete val="0"/>
        <c:axPos val="l"/>
        <c:numFmt formatCode="#,##0\ &quot;lei&quot;" sourceLinked="0"/>
        <c:majorTickMark val="none"/>
        <c:minorTickMark val="none"/>
        <c:tickLblPos val="nextTo"/>
        <c:txPr>
          <a:bodyPr/>
          <a:lstStyle/>
          <a:p>
            <a: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o-RO"/>
          </a:p>
        </c:txPr>
        <c:crossAx val="240408064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solidFill>
        <a:schemeClr val="accent1"/>
      </a:solidFill>
    </a:ln>
  </c:sp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B3E33E-CD53-4E22-9286-8F94269E9ADA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918D88D-66A7-4790-9852-9B729AC0E9AF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o-RO" altLang="en-US" sz="1200" b="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Activitatea Operaţională</a:t>
          </a:r>
          <a:endParaRPr lang="en-US" sz="1200" b="0" dirty="0"/>
        </a:p>
      </dgm:t>
    </dgm:pt>
    <dgm:pt modelId="{DFC66465-95FB-49BC-B26F-4D74581129FF}" type="parTrans" cxnId="{C2AED972-4EB5-4BB9-8ADD-C1316DA46510}">
      <dgm:prSet/>
      <dgm:spPr/>
      <dgm:t>
        <a:bodyPr/>
        <a:lstStyle/>
        <a:p>
          <a:endParaRPr lang="en-US" sz="1200"/>
        </a:p>
      </dgm:t>
    </dgm:pt>
    <dgm:pt modelId="{B40EA4BF-69EC-4B38-AE01-11423A9B85DF}" type="sibTrans" cxnId="{C2AED972-4EB5-4BB9-8ADD-C1316DA46510}">
      <dgm:prSet/>
      <dgm:spPr/>
      <dgm:t>
        <a:bodyPr/>
        <a:lstStyle/>
        <a:p>
          <a:endParaRPr lang="en-US" sz="1200"/>
        </a:p>
      </dgm:t>
    </dgm:pt>
    <dgm:pt modelId="{A2F2F493-7A93-46E4-9CF5-4D3F0272FEF6}">
      <dgm:prSet phldrT="[Text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ts val="600"/>
            </a:spcAft>
          </a:pPr>
          <a:r>
            <a:rPr lang="en-US" altLang="en-US" sz="1100" b="0" dirty="0" err="1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Europ</a:t>
          </a: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a</a:t>
          </a: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altLang="en-US" sz="1100" b="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/ CEE / </a:t>
          </a: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Rom</a:t>
          </a: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â</a:t>
          </a:r>
          <a:r>
            <a:rPr lang="en-US" altLang="en-US" sz="1100" b="0" dirty="0" err="1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nia</a:t>
          </a:r>
          <a:endParaRPr lang="en-US" altLang="en-US" sz="1100" b="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>
            <a:spcAft>
              <a:spcPts val="600"/>
            </a:spcAft>
          </a:pPr>
          <a:r>
            <a:rPr lang="en-US" altLang="en-US" sz="1100" b="0" dirty="0" err="1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Ut</a:t>
          </a: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ilităţi</a:t>
          </a: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altLang="en-US" sz="1100" b="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/ </a:t>
          </a: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Reţea de transport a energiei electrice</a:t>
          </a:r>
          <a:endParaRPr lang="en-US" altLang="en-US" sz="1100" b="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>
            <a:spcAft>
              <a:spcPts val="600"/>
            </a:spcAft>
          </a:pP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Monopol reglementat</a:t>
          </a:r>
          <a:endParaRPr lang="en-US" altLang="en-US" sz="1100" b="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DF5DDAF0-6A4E-4610-B719-18ECE2E0E5F8}" type="parTrans" cxnId="{5866189C-2452-43D4-AA16-99E913950364}">
      <dgm:prSet/>
      <dgm:spPr/>
      <dgm:t>
        <a:bodyPr/>
        <a:lstStyle/>
        <a:p>
          <a:endParaRPr lang="en-US" sz="1200"/>
        </a:p>
      </dgm:t>
    </dgm:pt>
    <dgm:pt modelId="{F1C9D859-4284-4251-8BA0-FC550B88DB75}" type="sibTrans" cxnId="{5866189C-2452-43D4-AA16-99E913950364}">
      <dgm:prSet/>
      <dgm:spPr/>
      <dgm:t>
        <a:bodyPr/>
        <a:lstStyle/>
        <a:p>
          <a:endParaRPr lang="en-US" sz="1200"/>
        </a:p>
      </dgm:t>
    </dgm:pt>
    <dgm:pt modelId="{38F2A67C-8241-4DCA-8E19-A42B7EDE7158}" type="pres">
      <dgm:prSet presAssocID="{64B3E33E-CD53-4E22-9286-8F94269E9AD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o-RO"/>
        </a:p>
      </dgm:t>
    </dgm:pt>
    <dgm:pt modelId="{A2565FBF-C1A3-45D5-92BD-02656C5A8DC5}" type="pres">
      <dgm:prSet presAssocID="{E918D88D-66A7-4790-9852-9B729AC0E9AF}" presName="vertOne" presStyleCnt="0"/>
      <dgm:spPr/>
    </dgm:pt>
    <dgm:pt modelId="{F7A5DF6E-04DB-4353-968C-A34095F2B6BF}" type="pres">
      <dgm:prSet presAssocID="{E918D88D-66A7-4790-9852-9B729AC0E9AF}" presName="txOne" presStyleLbl="node0" presStyleIdx="0" presStyleCnt="1" custScaleY="31993" custLinFactY="-210601" custLinFactNeighborX="50000" custLinFactNeighborY="-300000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C4B1DC37-2CDD-4C39-8CE0-89A7A5A54FF2}" type="pres">
      <dgm:prSet presAssocID="{E918D88D-66A7-4790-9852-9B729AC0E9AF}" presName="parTransOne" presStyleCnt="0"/>
      <dgm:spPr/>
    </dgm:pt>
    <dgm:pt modelId="{A341EE89-F995-4DC3-BD07-0A2BC73B5D0C}" type="pres">
      <dgm:prSet presAssocID="{E918D88D-66A7-4790-9852-9B729AC0E9AF}" presName="horzOne" presStyleCnt="0"/>
      <dgm:spPr/>
    </dgm:pt>
    <dgm:pt modelId="{B1A49F19-95F5-418F-843E-A43C3B50C37E}" type="pres">
      <dgm:prSet presAssocID="{A2F2F493-7A93-46E4-9CF5-4D3F0272FEF6}" presName="vertTwo" presStyleCnt="0"/>
      <dgm:spPr/>
    </dgm:pt>
    <dgm:pt modelId="{B7AFA790-2A3F-4B30-9762-EDF7DC3F3C9C}" type="pres">
      <dgm:prSet presAssocID="{A2F2F493-7A93-46E4-9CF5-4D3F0272FEF6}" presName="txTwo" presStyleLbl="node2" presStyleIdx="0" presStyleCnt="1" custScaleY="109050" custLinFactNeighborY="-5186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9987BF90-3A49-4548-90EE-B6CACA6EC7A0}" type="pres">
      <dgm:prSet presAssocID="{A2F2F493-7A93-46E4-9CF5-4D3F0272FEF6}" presName="horzTwo" presStyleCnt="0"/>
      <dgm:spPr/>
    </dgm:pt>
  </dgm:ptLst>
  <dgm:cxnLst>
    <dgm:cxn modelId="{5BA93537-AB59-4C34-A6B6-E9BCA5628687}" type="presOf" srcId="{A2F2F493-7A93-46E4-9CF5-4D3F0272FEF6}" destId="{B7AFA790-2A3F-4B30-9762-EDF7DC3F3C9C}" srcOrd="0" destOrd="0" presId="urn:microsoft.com/office/officeart/2005/8/layout/hierarchy4"/>
    <dgm:cxn modelId="{C2AED972-4EB5-4BB9-8ADD-C1316DA46510}" srcId="{64B3E33E-CD53-4E22-9286-8F94269E9ADA}" destId="{E918D88D-66A7-4790-9852-9B729AC0E9AF}" srcOrd="0" destOrd="0" parTransId="{DFC66465-95FB-49BC-B26F-4D74581129FF}" sibTransId="{B40EA4BF-69EC-4B38-AE01-11423A9B85DF}"/>
    <dgm:cxn modelId="{59E9E82D-C994-4CC4-A50D-F44A1BBEC4D7}" type="presOf" srcId="{E918D88D-66A7-4790-9852-9B729AC0E9AF}" destId="{F7A5DF6E-04DB-4353-968C-A34095F2B6BF}" srcOrd="0" destOrd="0" presId="urn:microsoft.com/office/officeart/2005/8/layout/hierarchy4"/>
    <dgm:cxn modelId="{5866189C-2452-43D4-AA16-99E913950364}" srcId="{E918D88D-66A7-4790-9852-9B729AC0E9AF}" destId="{A2F2F493-7A93-46E4-9CF5-4D3F0272FEF6}" srcOrd="0" destOrd="0" parTransId="{DF5DDAF0-6A4E-4610-B719-18ECE2E0E5F8}" sibTransId="{F1C9D859-4284-4251-8BA0-FC550B88DB75}"/>
    <dgm:cxn modelId="{6FF26C80-F3A2-4AF3-A427-90EEE08D2226}" type="presOf" srcId="{64B3E33E-CD53-4E22-9286-8F94269E9ADA}" destId="{38F2A67C-8241-4DCA-8E19-A42B7EDE7158}" srcOrd="0" destOrd="0" presId="urn:microsoft.com/office/officeart/2005/8/layout/hierarchy4"/>
    <dgm:cxn modelId="{93C819D0-D810-4E25-958A-14AE2BBE912E}" type="presParOf" srcId="{38F2A67C-8241-4DCA-8E19-A42B7EDE7158}" destId="{A2565FBF-C1A3-45D5-92BD-02656C5A8DC5}" srcOrd="0" destOrd="0" presId="urn:microsoft.com/office/officeart/2005/8/layout/hierarchy4"/>
    <dgm:cxn modelId="{FC3714DC-0584-483E-8570-413FC4F793E8}" type="presParOf" srcId="{A2565FBF-C1A3-45D5-92BD-02656C5A8DC5}" destId="{F7A5DF6E-04DB-4353-968C-A34095F2B6BF}" srcOrd="0" destOrd="0" presId="urn:microsoft.com/office/officeart/2005/8/layout/hierarchy4"/>
    <dgm:cxn modelId="{A477C2FE-87C3-48EB-BA30-7C13243F6675}" type="presParOf" srcId="{A2565FBF-C1A3-45D5-92BD-02656C5A8DC5}" destId="{C4B1DC37-2CDD-4C39-8CE0-89A7A5A54FF2}" srcOrd="1" destOrd="0" presId="urn:microsoft.com/office/officeart/2005/8/layout/hierarchy4"/>
    <dgm:cxn modelId="{6606BCC7-96F7-432A-AEF3-A3ACC9288E20}" type="presParOf" srcId="{A2565FBF-C1A3-45D5-92BD-02656C5A8DC5}" destId="{A341EE89-F995-4DC3-BD07-0A2BC73B5D0C}" srcOrd="2" destOrd="0" presId="urn:microsoft.com/office/officeart/2005/8/layout/hierarchy4"/>
    <dgm:cxn modelId="{8CCA587E-EB28-4262-AA62-89E6B1D5D49C}" type="presParOf" srcId="{A341EE89-F995-4DC3-BD07-0A2BC73B5D0C}" destId="{B1A49F19-95F5-418F-843E-A43C3B50C37E}" srcOrd="0" destOrd="0" presId="urn:microsoft.com/office/officeart/2005/8/layout/hierarchy4"/>
    <dgm:cxn modelId="{302F46BC-B93A-4FC8-A675-7B43BE3ECC05}" type="presParOf" srcId="{B1A49F19-95F5-418F-843E-A43C3B50C37E}" destId="{B7AFA790-2A3F-4B30-9762-EDF7DC3F3C9C}" srcOrd="0" destOrd="0" presId="urn:microsoft.com/office/officeart/2005/8/layout/hierarchy4"/>
    <dgm:cxn modelId="{2C3E6D4D-02FB-4D5F-A8BD-79083965CD0C}" type="presParOf" srcId="{B1A49F19-95F5-418F-843E-A43C3B50C37E}" destId="{9987BF90-3A49-4548-90EE-B6CACA6EC7A0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4B3E33E-CD53-4E22-9286-8F94269E9ADA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918D88D-66A7-4790-9852-9B729AC0E9AF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o-RO" altLang="en-US" sz="1200" b="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Profil general</a:t>
          </a:r>
          <a:endParaRPr lang="en-US" sz="1200" b="0" dirty="0"/>
        </a:p>
      </dgm:t>
    </dgm:pt>
    <dgm:pt modelId="{DFC66465-95FB-49BC-B26F-4D74581129FF}" type="parTrans" cxnId="{C2AED972-4EB5-4BB9-8ADD-C1316DA46510}">
      <dgm:prSet/>
      <dgm:spPr/>
      <dgm:t>
        <a:bodyPr/>
        <a:lstStyle/>
        <a:p>
          <a:endParaRPr lang="en-US" sz="1200" b="0"/>
        </a:p>
      </dgm:t>
    </dgm:pt>
    <dgm:pt modelId="{B40EA4BF-69EC-4B38-AE01-11423A9B85DF}" type="sibTrans" cxnId="{C2AED972-4EB5-4BB9-8ADD-C1316DA46510}">
      <dgm:prSet/>
      <dgm:spPr/>
      <dgm:t>
        <a:bodyPr/>
        <a:lstStyle/>
        <a:p>
          <a:endParaRPr lang="en-US" sz="1200" b="0"/>
        </a:p>
      </dgm:t>
    </dgm:pt>
    <dgm:pt modelId="{A2F2F493-7A93-46E4-9CF5-4D3F0272FEF6}">
      <dgm:prSet phldrT="[Text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 algn="ctr">
            <a:spcAft>
              <a:spcPts val="600"/>
            </a:spcAft>
          </a:pPr>
          <a:r>
            <a:rPr lang="ro-RO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Preţuri reglementate</a:t>
          </a:r>
          <a:endParaRPr 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>
            <a:spcAft>
              <a:spcPts val="600"/>
            </a:spcAft>
          </a:pPr>
          <a:r>
            <a:rPr lang="en-GB" sz="1100" b="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Monopol</a:t>
          </a:r>
          <a:r>
            <a:rPr lang="en-GB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100" b="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na</a:t>
          </a:r>
          <a:r>
            <a:rPr lang="ro-RO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ț</a:t>
          </a:r>
          <a:r>
            <a:rPr lang="en-GB" sz="1100" b="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onal</a:t>
          </a:r>
          <a:r>
            <a:rPr lang="en-GB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100" b="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pe</a:t>
          </a:r>
          <a:r>
            <a:rPr lang="en-GB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100" b="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erviciul</a:t>
          </a:r>
          <a:r>
            <a:rPr lang="en-GB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de transport al </a:t>
          </a:r>
          <a:r>
            <a:rPr lang="en-GB" sz="1100" b="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energiei</a:t>
          </a:r>
          <a:r>
            <a:rPr lang="en-GB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100" b="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electrice</a:t>
          </a:r>
          <a:endParaRPr 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>
            <a:spcAft>
              <a:spcPts val="600"/>
            </a:spcAft>
          </a:pP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Model de afaceri defensiv</a:t>
          </a:r>
          <a:endParaRPr lang="en-US" alt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>
            <a:spcAft>
              <a:spcPts val="600"/>
            </a:spcAft>
          </a:pP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Flux de numerar stabil şi previ</a:t>
          </a: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z</a:t>
          </a: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bil</a:t>
          </a:r>
          <a:endParaRPr lang="en-US" alt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F5DDAF0-6A4E-4610-B719-18ECE2E0E5F8}" type="parTrans" cxnId="{5866189C-2452-43D4-AA16-99E913950364}">
      <dgm:prSet/>
      <dgm:spPr/>
      <dgm:t>
        <a:bodyPr/>
        <a:lstStyle/>
        <a:p>
          <a:endParaRPr lang="en-US" sz="1200" b="0"/>
        </a:p>
      </dgm:t>
    </dgm:pt>
    <dgm:pt modelId="{F1C9D859-4284-4251-8BA0-FC550B88DB75}" type="sibTrans" cxnId="{5866189C-2452-43D4-AA16-99E913950364}">
      <dgm:prSet/>
      <dgm:spPr/>
      <dgm:t>
        <a:bodyPr/>
        <a:lstStyle/>
        <a:p>
          <a:endParaRPr lang="en-US" sz="1200" b="0"/>
        </a:p>
      </dgm:t>
    </dgm:pt>
    <dgm:pt modelId="{38F2A67C-8241-4DCA-8E19-A42B7EDE7158}" type="pres">
      <dgm:prSet presAssocID="{64B3E33E-CD53-4E22-9286-8F94269E9AD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o-RO"/>
        </a:p>
      </dgm:t>
    </dgm:pt>
    <dgm:pt modelId="{A2565FBF-C1A3-45D5-92BD-02656C5A8DC5}" type="pres">
      <dgm:prSet presAssocID="{E918D88D-66A7-4790-9852-9B729AC0E9AF}" presName="vertOne" presStyleCnt="0"/>
      <dgm:spPr/>
    </dgm:pt>
    <dgm:pt modelId="{F7A5DF6E-04DB-4353-968C-A34095F2B6BF}" type="pres">
      <dgm:prSet presAssocID="{E918D88D-66A7-4790-9852-9B729AC0E9AF}" presName="txOne" presStyleLbl="node0" presStyleIdx="0" presStyleCnt="1" custScaleY="31993" custLinFactY="-210601" custLinFactNeighborX="50000" custLinFactNeighborY="-300000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C4B1DC37-2CDD-4C39-8CE0-89A7A5A54FF2}" type="pres">
      <dgm:prSet presAssocID="{E918D88D-66A7-4790-9852-9B729AC0E9AF}" presName="parTransOne" presStyleCnt="0"/>
      <dgm:spPr/>
    </dgm:pt>
    <dgm:pt modelId="{A341EE89-F995-4DC3-BD07-0A2BC73B5D0C}" type="pres">
      <dgm:prSet presAssocID="{E918D88D-66A7-4790-9852-9B729AC0E9AF}" presName="horzOne" presStyleCnt="0"/>
      <dgm:spPr/>
    </dgm:pt>
    <dgm:pt modelId="{B1A49F19-95F5-418F-843E-A43C3B50C37E}" type="pres">
      <dgm:prSet presAssocID="{A2F2F493-7A93-46E4-9CF5-4D3F0272FEF6}" presName="vertTwo" presStyleCnt="0"/>
      <dgm:spPr/>
    </dgm:pt>
    <dgm:pt modelId="{B7AFA790-2A3F-4B30-9762-EDF7DC3F3C9C}" type="pres">
      <dgm:prSet presAssocID="{A2F2F493-7A93-46E4-9CF5-4D3F0272FEF6}" presName="txTwo" presStyleLbl="node2" presStyleIdx="0" presStyleCnt="1" custScaleY="136822" custLinFactNeighborY="-5186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9987BF90-3A49-4548-90EE-B6CACA6EC7A0}" type="pres">
      <dgm:prSet presAssocID="{A2F2F493-7A93-46E4-9CF5-4D3F0272FEF6}" presName="horzTwo" presStyleCnt="0"/>
      <dgm:spPr/>
    </dgm:pt>
  </dgm:ptLst>
  <dgm:cxnLst>
    <dgm:cxn modelId="{52DCFDC3-D141-4E22-B8C8-3B63E95BCC48}" type="presOf" srcId="{E918D88D-66A7-4790-9852-9B729AC0E9AF}" destId="{F7A5DF6E-04DB-4353-968C-A34095F2B6BF}" srcOrd="0" destOrd="0" presId="urn:microsoft.com/office/officeart/2005/8/layout/hierarchy4"/>
    <dgm:cxn modelId="{C2AED972-4EB5-4BB9-8ADD-C1316DA46510}" srcId="{64B3E33E-CD53-4E22-9286-8F94269E9ADA}" destId="{E918D88D-66A7-4790-9852-9B729AC0E9AF}" srcOrd="0" destOrd="0" parTransId="{DFC66465-95FB-49BC-B26F-4D74581129FF}" sibTransId="{B40EA4BF-69EC-4B38-AE01-11423A9B85DF}"/>
    <dgm:cxn modelId="{C5BA920D-3F40-434A-8CDE-FF41A3AC9418}" type="presOf" srcId="{A2F2F493-7A93-46E4-9CF5-4D3F0272FEF6}" destId="{B7AFA790-2A3F-4B30-9762-EDF7DC3F3C9C}" srcOrd="0" destOrd="0" presId="urn:microsoft.com/office/officeart/2005/8/layout/hierarchy4"/>
    <dgm:cxn modelId="{E0238B1C-9BFF-40D2-ADF3-80ABB597D6F4}" type="presOf" srcId="{64B3E33E-CD53-4E22-9286-8F94269E9ADA}" destId="{38F2A67C-8241-4DCA-8E19-A42B7EDE7158}" srcOrd="0" destOrd="0" presId="urn:microsoft.com/office/officeart/2005/8/layout/hierarchy4"/>
    <dgm:cxn modelId="{5866189C-2452-43D4-AA16-99E913950364}" srcId="{E918D88D-66A7-4790-9852-9B729AC0E9AF}" destId="{A2F2F493-7A93-46E4-9CF5-4D3F0272FEF6}" srcOrd="0" destOrd="0" parTransId="{DF5DDAF0-6A4E-4610-B719-18ECE2E0E5F8}" sibTransId="{F1C9D859-4284-4251-8BA0-FC550B88DB75}"/>
    <dgm:cxn modelId="{1A007CEA-9628-4CB1-BB4A-A42C3B07B611}" type="presParOf" srcId="{38F2A67C-8241-4DCA-8E19-A42B7EDE7158}" destId="{A2565FBF-C1A3-45D5-92BD-02656C5A8DC5}" srcOrd="0" destOrd="0" presId="urn:microsoft.com/office/officeart/2005/8/layout/hierarchy4"/>
    <dgm:cxn modelId="{A233CAF7-5C7A-4E5E-8E21-C665134F95A7}" type="presParOf" srcId="{A2565FBF-C1A3-45D5-92BD-02656C5A8DC5}" destId="{F7A5DF6E-04DB-4353-968C-A34095F2B6BF}" srcOrd="0" destOrd="0" presId="urn:microsoft.com/office/officeart/2005/8/layout/hierarchy4"/>
    <dgm:cxn modelId="{F9784845-8352-45F6-B296-A289A71935BB}" type="presParOf" srcId="{A2565FBF-C1A3-45D5-92BD-02656C5A8DC5}" destId="{C4B1DC37-2CDD-4C39-8CE0-89A7A5A54FF2}" srcOrd="1" destOrd="0" presId="urn:microsoft.com/office/officeart/2005/8/layout/hierarchy4"/>
    <dgm:cxn modelId="{3C7F1B2D-2273-40C5-A996-DBC7FA982342}" type="presParOf" srcId="{A2565FBF-C1A3-45D5-92BD-02656C5A8DC5}" destId="{A341EE89-F995-4DC3-BD07-0A2BC73B5D0C}" srcOrd="2" destOrd="0" presId="urn:microsoft.com/office/officeart/2005/8/layout/hierarchy4"/>
    <dgm:cxn modelId="{5F8C207F-5493-4A1C-8FFA-3A3F25D4108E}" type="presParOf" srcId="{A341EE89-F995-4DC3-BD07-0A2BC73B5D0C}" destId="{B1A49F19-95F5-418F-843E-A43C3B50C37E}" srcOrd="0" destOrd="0" presId="urn:microsoft.com/office/officeart/2005/8/layout/hierarchy4"/>
    <dgm:cxn modelId="{9A35423B-EFE8-484E-B489-014948F6F402}" type="presParOf" srcId="{B1A49F19-95F5-418F-843E-A43C3B50C37E}" destId="{B7AFA790-2A3F-4B30-9762-EDF7DC3F3C9C}" srcOrd="0" destOrd="0" presId="urn:microsoft.com/office/officeart/2005/8/layout/hierarchy4"/>
    <dgm:cxn modelId="{8CE27840-1A22-4DF2-B70E-6028BE9B16CB}" type="presParOf" srcId="{B1A49F19-95F5-418F-843E-A43C3B50C37E}" destId="{9987BF90-3A49-4548-90EE-B6CACA6EC7A0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4B3E33E-CD53-4E22-9286-8F94269E9ADA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918D88D-66A7-4790-9852-9B729AC0E9AF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o-RO" altLang="en-US" sz="1200" b="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Profil de reglementare</a:t>
          </a:r>
          <a:endParaRPr lang="en-US" sz="1200" b="0" dirty="0"/>
        </a:p>
      </dgm:t>
    </dgm:pt>
    <dgm:pt modelId="{DFC66465-95FB-49BC-B26F-4D74581129FF}" type="parTrans" cxnId="{C2AED972-4EB5-4BB9-8ADD-C1316DA46510}">
      <dgm:prSet/>
      <dgm:spPr/>
      <dgm:t>
        <a:bodyPr/>
        <a:lstStyle/>
        <a:p>
          <a:endParaRPr lang="en-US" sz="1200" b="0"/>
        </a:p>
      </dgm:t>
    </dgm:pt>
    <dgm:pt modelId="{B40EA4BF-69EC-4B38-AE01-11423A9B85DF}" type="sibTrans" cxnId="{C2AED972-4EB5-4BB9-8ADD-C1316DA46510}">
      <dgm:prSet/>
      <dgm:spPr/>
      <dgm:t>
        <a:bodyPr/>
        <a:lstStyle/>
        <a:p>
          <a:endParaRPr lang="en-US" sz="1200" b="0"/>
        </a:p>
      </dgm:t>
    </dgm:pt>
    <dgm:pt modelId="{A2F2F493-7A93-46E4-9CF5-4D3F0272FEF6}">
      <dgm:prSet phldrT="[Text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 algn="ctr">
            <a:spcAft>
              <a:spcPts val="600"/>
            </a:spcAft>
          </a:pPr>
          <a:r>
            <a:rPr lang="ro-RO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ransparenţă și vizibilitate </a:t>
          </a: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ro-RO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Perioade de reglementare a tarifelor de 5 ani cu revizuiri anuale</a:t>
          </a: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>
            <a:spcAft>
              <a:spcPts val="600"/>
            </a:spcAft>
          </a:pPr>
          <a:r>
            <a:rPr lang="ro-RO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onfigurare clară pentru recuperarea costurilor </a:t>
          </a: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OPEX </a:t>
          </a:r>
          <a:r>
            <a:rPr lang="en-US" sz="1100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&amp; CAPEX </a:t>
          </a: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en-US" sz="1100" b="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arif</a:t>
          </a:r>
          <a:r>
            <a:rPr lang="ro-RO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reglementat</a:t>
          </a: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>
            <a:spcAft>
              <a:spcPts val="600"/>
            </a:spcAft>
          </a:pP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OI* </a:t>
          </a:r>
          <a:r>
            <a:rPr lang="ro-RO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glementat </a:t>
          </a: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ro-RO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încorporat în tarifele de reţea</a:t>
          </a: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F5DDAF0-6A4E-4610-B719-18ECE2E0E5F8}" type="parTrans" cxnId="{5866189C-2452-43D4-AA16-99E913950364}">
      <dgm:prSet/>
      <dgm:spPr/>
      <dgm:t>
        <a:bodyPr/>
        <a:lstStyle/>
        <a:p>
          <a:endParaRPr lang="en-US" sz="1200" b="0"/>
        </a:p>
      </dgm:t>
    </dgm:pt>
    <dgm:pt modelId="{F1C9D859-4284-4251-8BA0-FC550B88DB75}" type="sibTrans" cxnId="{5866189C-2452-43D4-AA16-99E913950364}">
      <dgm:prSet/>
      <dgm:spPr/>
      <dgm:t>
        <a:bodyPr/>
        <a:lstStyle/>
        <a:p>
          <a:endParaRPr lang="en-US" sz="1200" b="0"/>
        </a:p>
      </dgm:t>
    </dgm:pt>
    <dgm:pt modelId="{38F2A67C-8241-4DCA-8E19-A42B7EDE7158}" type="pres">
      <dgm:prSet presAssocID="{64B3E33E-CD53-4E22-9286-8F94269E9AD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o-RO"/>
        </a:p>
      </dgm:t>
    </dgm:pt>
    <dgm:pt modelId="{A2565FBF-C1A3-45D5-92BD-02656C5A8DC5}" type="pres">
      <dgm:prSet presAssocID="{E918D88D-66A7-4790-9852-9B729AC0E9AF}" presName="vertOne" presStyleCnt="0"/>
      <dgm:spPr/>
    </dgm:pt>
    <dgm:pt modelId="{F7A5DF6E-04DB-4353-968C-A34095F2B6BF}" type="pres">
      <dgm:prSet presAssocID="{E918D88D-66A7-4790-9852-9B729AC0E9AF}" presName="txOne" presStyleLbl="node0" presStyleIdx="0" presStyleCnt="1" custScaleY="31993" custLinFactY="-210601" custLinFactNeighborX="50000" custLinFactNeighborY="-300000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C4B1DC37-2CDD-4C39-8CE0-89A7A5A54FF2}" type="pres">
      <dgm:prSet presAssocID="{E918D88D-66A7-4790-9852-9B729AC0E9AF}" presName="parTransOne" presStyleCnt="0"/>
      <dgm:spPr/>
    </dgm:pt>
    <dgm:pt modelId="{A341EE89-F995-4DC3-BD07-0A2BC73B5D0C}" type="pres">
      <dgm:prSet presAssocID="{E918D88D-66A7-4790-9852-9B729AC0E9AF}" presName="horzOne" presStyleCnt="0"/>
      <dgm:spPr/>
    </dgm:pt>
    <dgm:pt modelId="{B1A49F19-95F5-418F-843E-A43C3B50C37E}" type="pres">
      <dgm:prSet presAssocID="{A2F2F493-7A93-46E4-9CF5-4D3F0272FEF6}" presName="vertTwo" presStyleCnt="0"/>
      <dgm:spPr/>
    </dgm:pt>
    <dgm:pt modelId="{B7AFA790-2A3F-4B30-9762-EDF7DC3F3C9C}" type="pres">
      <dgm:prSet presAssocID="{A2F2F493-7A93-46E4-9CF5-4D3F0272FEF6}" presName="txTwo" presStyleLbl="node2" presStyleIdx="0" presStyleCnt="1" custScaleY="136822" custLinFactNeighborY="-5186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9987BF90-3A49-4548-90EE-B6CACA6EC7A0}" type="pres">
      <dgm:prSet presAssocID="{A2F2F493-7A93-46E4-9CF5-4D3F0272FEF6}" presName="horzTwo" presStyleCnt="0"/>
      <dgm:spPr/>
    </dgm:pt>
  </dgm:ptLst>
  <dgm:cxnLst>
    <dgm:cxn modelId="{A89CF10D-788D-45B9-9749-BBE4624D836D}" type="presOf" srcId="{A2F2F493-7A93-46E4-9CF5-4D3F0272FEF6}" destId="{B7AFA790-2A3F-4B30-9762-EDF7DC3F3C9C}" srcOrd="0" destOrd="0" presId="urn:microsoft.com/office/officeart/2005/8/layout/hierarchy4"/>
    <dgm:cxn modelId="{C2AED972-4EB5-4BB9-8ADD-C1316DA46510}" srcId="{64B3E33E-CD53-4E22-9286-8F94269E9ADA}" destId="{E918D88D-66A7-4790-9852-9B729AC0E9AF}" srcOrd="0" destOrd="0" parTransId="{DFC66465-95FB-49BC-B26F-4D74581129FF}" sibTransId="{B40EA4BF-69EC-4B38-AE01-11423A9B85DF}"/>
    <dgm:cxn modelId="{A5947D85-9F2C-4815-9384-2463F2F3A2D8}" type="presOf" srcId="{E918D88D-66A7-4790-9852-9B729AC0E9AF}" destId="{F7A5DF6E-04DB-4353-968C-A34095F2B6BF}" srcOrd="0" destOrd="0" presId="urn:microsoft.com/office/officeart/2005/8/layout/hierarchy4"/>
    <dgm:cxn modelId="{57DCDC95-EF9A-4825-82F5-83860F78F27B}" type="presOf" srcId="{64B3E33E-CD53-4E22-9286-8F94269E9ADA}" destId="{38F2A67C-8241-4DCA-8E19-A42B7EDE7158}" srcOrd="0" destOrd="0" presId="urn:microsoft.com/office/officeart/2005/8/layout/hierarchy4"/>
    <dgm:cxn modelId="{5866189C-2452-43D4-AA16-99E913950364}" srcId="{E918D88D-66A7-4790-9852-9B729AC0E9AF}" destId="{A2F2F493-7A93-46E4-9CF5-4D3F0272FEF6}" srcOrd="0" destOrd="0" parTransId="{DF5DDAF0-6A4E-4610-B719-18ECE2E0E5F8}" sibTransId="{F1C9D859-4284-4251-8BA0-FC550B88DB75}"/>
    <dgm:cxn modelId="{44778F02-31B0-4323-84E9-4BF7460BAC36}" type="presParOf" srcId="{38F2A67C-8241-4DCA-8E19-A42B7EDE7158}" destId="{A2565FBF-C1A3-45D5-92BD-02656C5A8DC5}" srcOrd="0" destOrd="0" presId="urn:microsoft.com/office/officeart/2005/8/layout/hierarchy4"/>
    <dgm:cxn modelId="{D6D798B8-2C6D-42CD-B917-5C702DA10B81}" type="presParOf" srcId="{A2565FBF-C1A3-45D5-92BD-02656C5A8DC5}" destId="{F7A5DF6E-04DB-4353-968C-A34095F2B6BF}" srcOrd="0" destOrd="0" presId="urn:microsoft.com/office/officeart/2005/8/layout/hierarchy4"/>
    <dgm:cxn modelId="{A6D47023-A254-4D19-A09A-F13DBA52F234}" type="presParOf" srcId="{A2565FBF-C1A3-45D5-92BD-02656C5A8DC5}" destId="{C4B1DC37-2CDD-4C39-8CE0-89A7A5A54FF2}" srcOrd="1" destOrd="0" presId="urn:microsoft.com/office/officeart/2005/8/layout/hierarchy4"/>
    <dgm:cxn modelId="{4D61E7C9-7B6D-4F20-8C9D-87521EF17C03}" type="presParOf" srcId="{A2565FBF-C1A3-45D5-92BD-02656C5A8DC5}" destId="{A341EE89-F995-4DC3-BD07-0A2BC73B5D0C}" srcOrd="2" destOrd="0" presId="urn:microsoft.com/office/officeart/2005/8/layout/hierarchy4"/>
    <dgm:cxn modelId="{A3B14DE5-CA43-4E70-A046-32FDAC57DE97}" type="presParOf" srcId="{A341EE89-F995-4DC3-BD07-0A2BC73B5D0C}" destId="{B1A49F19-95F5-418F-843E-A43C3B50C37E}" srcOrd="0" destOrd="0" presId="urn:microsoft.com/office/officeart/2005/8/layout/hierarchy4"/>
    <dgm:cxn modelId="{DDB74D3B-F009-4A3D-9030-3A54AF4A81EC}" type="presParOf" srcId="{B1A49F19-95F5-418F-843E-A43C3B50C37E}" destId="{B7AFA790-2A3F-4B30-9762-EDF7DC3F3C9C}" srcOrd="0" destOrd="0" presId="urn:microsoft.com/office/officeart/2005/8/layout/hierarchy4"/>
    <dgm:cxn modelId="{7288D58C-A05E-4197-811B-972F91A5718D}" type="presParOf" srcId="{B1A49F19-95F5-418F-843E-A43C3B50C37E}" destId="{9987BF90-3A49-4548-90EE-B6CACA6EC7A0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4B3E33E-CD53-4E22-9286-8F94269E9ADA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918D88D-66A7-4790-9852-9B729AC0E9AF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o-RO" altLang="en-US" sz="1200" b="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Licenţe, Active, Certificări</a:t>
          </a:r>
          <a:endParaRPr lang="en-US" sz="1200" b="0" dirty="0"/>
        </a:p>
      </dgm:t>
    </dgm:pt>
    <dgm:pt modelId="{DFC66465-95FB-49BC-B26F-4D74581129FF}" type="parTrans" cxnId="{C2AED972-4EB5-4BB9-8ADD-C1316DA46510}">
      <dgm:prSet/>
      <dgm:spPr/>
      <dgm:t>
        <a:bodyPr/>
        <a:lstStyle/>
        <a:p>
          <a:endParaRPr lang="en-US" sz="1200"/>
        </a:p>
      </dgm:t>
    </dgm:pt>
    <dgm:pt modelId="{B40EA4BF-69EC-4B38-AE01-11423A9B85DF}" type="sibTrans" cxnId="{C2AED972-4EB5-4BB9-8ADD-C1316DA46510}">
      <dgm:prSet/>
      <dgm:spPr/>
      <dgm:t>
        <a:bodyPr/>
        <a:lstStyle/>
        <a:p>
          <a:endParaRPr lang="en-US" sz="1200"/>
        </a:p>
      </dgm:t>
    </dgm:pt>
    <dgm:pt modelId="{A2F2F493-7A93-46E4-9CF5-4D3F0272FEF6}">
      <dgm:prSet phldrT="[Text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ts val="600"/>
            </a:spcAft>
          </a:pP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25 ani Licenţa pentru exploatarea SEN</a:t>
          </a:r>
          <a:endParaRPr lang="en-US" altLang="en-US" sz="1100" b="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>
            <a:spcAft>
              <a:spcPts val="600"/>
            </a:spcAft>
          </a:pP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49 ani Acord de concesiune din partea Guvernului României (activele reţelei)</a:t>
          </a:r>
          <a:endParaRPr lang="en-US" altLang="en-US" sz="1100" b="0" dirty="0" smtClean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>
            <a:spcAft>
              <a:spcPts val="600"/>
            </a:spcAft>
          </a:pP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Certificarea independenţei în cadrul sectorului</a:t>
          </a: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: </a:t>
          </a: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Modelul separării proprietății (</a:t>
          </a:r>
          <a:r>
            <a:rPr lang="ro-RO" altLang="en-US" sz="1100" b="0" i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ownership unbundling</a:t>
          </a: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)</a:t>
          </a:r>
          <a:endParaRPr lang="en-US" altLang="en-US" sz="1100" b="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DF5DDAF0-6A4E-4610-B719-18ECE2E0E5F8}" type="parTrans" cxnId="{5866189C-2452-43D4-AA16-99E913950364}">
      <dgm:prSet/>
      <dgm:spPr/>
      <dgm:t>
        <a:bodyPr/>
        <a:lstStyle/>
        <a:p>
          <a:endParaRPr lang="en-US" sz="1200"/>
        </a:p>
      </dgm:t>
    </dgm:pt>
    <dgm:pt modelId="{F1C9D859-4284-4251-8BA0-FC550B88DB75}" type="sibTrans" cxnId="{5866189C-2452-43D4-AA16-99E913950364}">
      <dgm:prSet/>
      <dgm:spPr/>
      <dgm:t>
        <a:bodyPr/>
        <a:lstStyle/>
        <a:p>
          <a:endParaRPr lang="en-US" sz="1200"/>
        </a:p>
      </dgm:t>
    </dgm:pt>
    <dgm:pt modelId="{38F2A67C-8241-4DCA-8E19-A42B7EDE7158}" type="pres">
      <dgm:prSet presAssocID="{64B3E33E-CD53-4E22-9286-8F94269E9AD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o-RO"/>
        </a:p>
      </dgm:t>
    </dgm:pt>
    <dgm:pt modelId="{A2565FBF-C1A3-45D5-92BD-02656C5A8DC5}" type="pres">
      <dgm:prSet presAssocID="{E918D88D-66A7-4790-9852-9B729AC0E9AF}" presName="vertOne" presStyleCnt="0"/>
      <dgm:spPr/>
    </dgm:pt>
    <dgm:pt modelId="{F7A5DF6E-04DB-4353-968C-A34095F2B6BF}" type="pres">
      <dgm:prSet presAssocID="{E918D88D-66A7-4790-9852-9B729AC0E9AF}" presName="txOne" presStyleLbl="node0" presStyleIdx="0" presStyleCnt="1" custScaleY="31993" custLinFactY="-210601" custLinFactNeighborX="50000" custLinFactNeighborY="-300000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C4B1DC37-2CDD-4C39-8CE0-89A7A5A54FF2}" type="pres">
      <dgm:prSet presAssocID="{E918D88D-66A7-4790-9852-9B729AC0E9AF}" presName="parTransOne" presStyleCnt="0"/>
      <dgm:spPr/>
    </dgm:pt>
    <dgm:pt modelId="{A341EE89-F995-4DC3-BD07-0A2BC73B5D0C}" type="pres">
      <dgm:prSet presAssocID="{E918D88D-66A7-4790-9852-9B729AC0E9AF}" presName="horzOne" presStyleCnt="0"/>
      <dgm:spPr/>
    </dgm:pt>
    <dgm:pt modelId="{B1A49F19-95F5-418F-843E-A43C3B50C37E}" type="pres">
      <dgm:prSet presAssocID="{A2F2F493-7A93-46E4-9CF5-4D3F0272FEF6}" presName="vertTwo" presStyleCnt="0"/>
      <dgm:spPr/>
    </dgm:pt>
    <dgm:pt modelId="{B7AFA790-2A3F-4B30-9762-EDF7DC3F3C9C}" type="pres">
      <dgm:prSet presAssocID="{A2F2F493-7A93-46E4-9CF5-4D3F0272FEF6}" presName="txTwo" presStyleLbl="node2" presStyleIdx="0" presStyleCnt="1" custScaleY="136822" custLinFactNeighborY="-5186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9987BF90-3A49-4548-90EE-B6CACA6EC7A0}" type="pres">
      <dgm:prSet presAssocID="{A2F2F493-7A93-46E4-9CF5-4D3F0272FEF6}" presName="horzTwo" presStyleCnt="0"/>
      <dgm:spPr/>
    </dgm:pt>
  </dgm:ptLst>
  <dgm:cxnLst>
    <dgm:cxn modelId="{BB6DBD02-435E-4442-9878-8CD505496759}" type="presOf" srcId="{E918D88D-66A7-4790-9852-9B729AC0E9AF}" destId="{F7A5DF6E-04DB-4353-968C-A34095F2B6BF}" srcOrd="0" destOrd="0" presId="urn:microsoft.com/office/officeart/2005/8/layout/hierarchy4"/>
    <dgm:cxn modelId="{0206C575-C338-4F8E-B49F-861222B007B8}" type="presOf" srcId="{64B3E33E-CD53-4E22-9286-8F94269E9ADA}" destId="{38F2A67C-8241-4DCA-8E19-A42B7EDE7158}" srcOrd="0" destOrd="0" presId="urn:microsoft.com/office/officeart/2005/8/layout/hierarchy4"/>
    <dgm:cxn modelId="{89B00FBE-0C4F-4A22-ABDC-24F8D20FBB79}" type="presOf" srcId="{A2F2F493-7A93-46E4-9CF5-4D3F0272FEF6}" destId="{B7AFA790-2A3F-4B30-9762-EDF7DC3F3C9C}" srcOrd="0" destOrd="0" presId="urn:microsoft.com/office/officeart/2005/8/layout/hierarchy4"/>
    <dgm:cxn modelId="{C2AED972-4EB5-4BB9-8ADD-C1316DA46510}" srcId="{64B3E33E-CD53-4E22-9286-8F94269E9ADA}" destId="{E918D88D-66A7-4790-9852-9B729AC0E9AF}" srcOrd="0" destOrd="0" parTransId="{DFC66465-95FB-49BC-B26F-4D74581129FF}" sibTransId="{B40EA4BF-69EC-4B38-AE01-11423A9B85DF}"/>
    <dgm:cxn modelId="{5866189C-2452-43D4-AA16-99E913950364}" srcId="{E918D88D-66A7-4790-9852-9B729AC0E9AF}" destId="{A2F2F493-7A93-46E4-9CF5-4D3F0272FEF6}" srcOrd="0" destOrd="0" parTransId="{DF5DDAF0-6A4E-4610-B719-18ECE2E0E5F8}" sibTransId="{F1C9D859-4284-4251-8BA0-FC550B88DB75}"/>
    <dgm:cxn modelId="{63C59ED6-BD63-4966-9E02-E4A19F018229}" type="presParOf" srcId="{38F2A67C-8241-4DCA-8E19-A42B7EDE7158}" destId="{A2565FBF-C1A3-45D5-92BD-02656C5A8DC5}" srcOrd="0" destOrd="0" presId="urn:microsoft.com/office/officeart/2005/8/layout/hierarchy4"/>
    <dgm:cxn modelId="{01A9DA23-501B-4D22-9CAD-EC16E5CE3BB4}" type="presParOf" srcId="{A2565FBF-C1A3-45D5-92BD-02656C5A8DC5}" destId="{F7A5DF6E-04DB-4353-968C-A34095F2B6BF}" srcOrd="0" destOrd="0" presId="urn:microsoft.com/office/officeart/2005/8/layout/hierarchy4"/>
    <dgm:cxn modelId="{5D417EE7-FA70-4DDA-B996-3B6656461518}" type="presParOf" srcId="{A2565FBF-C1A3-45D5-92BD-02656C5A8DC5}" destId="{C4B1DC37-2CDD-4C39-8CE0-89A7A5A54FF2}" srcOrd="1" destOrd="0" presId="urn:microsoft.com/office/officeart/2005/8/layout/hierarchy4"/>
    <dgm:cxn modelId="{E797E2BD-AD43-413A-9142-C410A5169C87}" type="presParOf" srcId="{A2565FBF-C1A3-45D5-92BD-02656C5A8DC5}" destId="{A341EE89-F995-4DC3-BD07-0A2BC73B5D0C}" srcOrd="2" destOrd="0" presId="urn:microsoft.com/office/officeart/2005/8/layout/hierarchy4"/>
    <dgm:cxn modelId="{1629804A-5F57-41E6-9D62-4E1A78F6331E}" type="presParOf" srcId="{A341EE89-F995-4DC3-BD07-0A2BC73B5D0C}" destId="{B1A49F19-95F5-418F-843E-A43C3B50C37E}" srcOrd="0" destOrd="0" presId="urn:microsoft.com/office/officeart/2005/8/layout/hierarchy4"/>
    <dgm:cxn modelId="{F37A3834-7FA4-4367-9A81-5D231736C0AF}" type="presParOf" srcId="{B1A49F19-95F5-418F-843E-A43C3B50C37E}" destId="{B7AFA790-2A3F-4B30-9762-EDF7DC3F3C9C}" srcOrd="0" destOrd="0" presId="urn:microsoft.com/office/officeart/2005/8/layout/hierarchy4"/>
    <dgm:cxn modelId="{8BA43702-8D28-408D-96E1-07E7E2754562}" type="presParOf" srcId="{B1A49F19-95F5-418F-843E-A43C3B50C37E}" destId="{9987BF90-3A49-4548-90EE-B6CACA6EC7A0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62F9B02-98FA-4058-B775-E2B501A9DD9D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DC325E4-938C-42FE-AA1F-6B43FFB57BC8}">
      <dgm:prSet phldrT="[Text]" custT="1"/>
      <dgm:spPr>
        <a:noFill/>
        <a:ln w="12700">
          <a:solidFill>
            <a:schemeClr val="bg1">
              <a:lumMod val="75000"/>
            </a:schemeClr>
          </a:solidFill>
          <a:prstDash val="sysDot"/>
        </a:ln>
      </dgm:spPr>
      <dgm:t>
        <a:bodyPr/>
        <a:lstStyle/>
        <a:p>
          <a:r>
            <a:rPr lang="ro-RO" sz="1100" b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Generare</a:t>
          </a:r>
          <a:endParaRPr lang="en-US" sz="1100" b="1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en-US" sz="1100" b="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ro-RO" sz="1100" b="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entrale</a:t>
          </a:r>
          <a:r>
            <a:rPr lang="en-US" sz="1100" b="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GB" sz="1100" b="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C357F0-58AA-4258-A06B-0863F60EF3DB}" type="parTrans" cxnId="{21E2E0FA-2C3B-48B0-B6E0-8633F2A0F51D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041ACEA-6B23-4D0F-835E-9AD990A628AE}" type="sibTrans" cxnId="{21E2E0FA-2C3B-48B0-B6E0-8633F2A0F51D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D0D8252-C996-48C8-A55D-0A3D0E4F336F}">
      <dgm:prSet phldrT="[Text]" custT="1"/>
      <dgm:spPr>
        <a:noFill/>
        <a:ln w="12700">
          <a:solidFill>
            <a:schemeClr val="bg1">
              <a:lumMod val="75000"/>
            </a:schemeClr>
          </a:solidFill>
          <a:prstDash val="sysDot"/>
        </a:ln>
      </dgm:spPr>
      <dgm:t>
        <a:bodyPr/>
        <a:lstStyle/>
        <a:p>
          <a:r>
            <a:rPr lang="ro-RO" sz="1100" b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onsumatori finali</a:t>
          </a:r>
          <a:endParaRPr lang="en-GB" sz="1100" b="1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1711EC6-DED1-4E19-A54B-A5FFCE7339A2}" type="parTrans" cxnId="{94A2941C-5760-46FF-8306-C1A55ECFA00D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37832B5-E096-43F8-8808-4815F29DDA11}" type="sibTrans" cxnId="{94A2941C-5760-46FF-8306-C1A55ECFA00D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2B9735E-AC4D-49EE-AAF2-9AA3E4F55729}">
      <dgm:prSet phldrT="[Text]" custT="1"/>
      <dgm:spPr>
        <a:noFill/>
        <a:ln w="12700">
          <a:solidFill>
            <a:schemeClr val="accent1">
              <a:lumMod val="75000"/>
            </a:schemeClr>
          </a:solidFill>
          <a:prstDash val="sysDot"/>
        </a:ln>
      </dgm:spPr>
      <dgm:t>
        <a:bodyPr/>
        <a:lstStyle/>
        <a:p>
          <a:pPr>
            <a:spcAft>
              <a:spcPts val="462"/>
            </a:spcAft>
          </a:pPr>
          <a:r>
            <a:rPr lang="en-US" sz="1100" b="1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</a:t>
          </a:r>
          <a:r>
            <a:rPr lang="ro-RO" sz="1100" b="1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ansport</a:t>
          </a:r>
          <a:endParaRPr lang="en-US" sz="1100" b="1" dirty="0">
            <a:solidFill>
              <a:schemeClr val="accent1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>
            <a:spcAft>
              <a:spcPts val="0"/>
            </a:spcAft>
          </a:pPr>
          <a:r>
            <a:rPr lang="en-US" sz="1100" b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ro-RO" sz="1100" b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Reţea ÎT</a:t>
          </a:r>
          <a:r>
            <a:rPr lang="en-US" sz="1100" b="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ro-RO" sz="1100" b="0" dirty="0">
            <a:solidFill>
              <a:schemeClr val="accent1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A3053FE-595A-40AA-A006-9625A294990C}" type="parTrans" cxnId="{B96BCEA9-CF77-4A16-A9D4-3821848D26A9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EC19E11-E55A-4EFD-A088-185E14C43043}" type="sibTrans" cxnId="{B96BCEA9-CF77-4A16-A9D4-3821848D26A9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0B9D4B6-61EA-45AE-A1E0-E46954545431}">
      <dgm:prSet phldrT="[Text]" custT="1"/>
      <dgm:spPr>
        <a:noFill/>
        <a:ln w="12700">
          <a:solidFill>
            <a:schemeClr val="bg1">
              <a:lumMod val="75000"/>
            </a:schemeClr>
          </a:solidFill>
          <a:prstDash val="sysDot"/>
        </a:ln>
      </dgm:spPr>
      <dgm:t>
        <a:bodyPr/>
        <a:lstStyle/>
        <a:p>
          <a:r>
            <a:rPr lang="en-US" sz="1100" b="1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is</a:t>
          </a:r>
          <a:r>
            <a:rPr lang="ro-RO" sz="1100" b="1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ribuţie</a:t>
          </a:r>
          <a:endParaRPr lang="en-US" sz="1100" b="1" smtClean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en-US" sz="1100" b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ro-RO" sz="1100" b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ţele MT şi JT</a:t>
          </a:r>
          <a:r>
            <a:rPr lang="en-US" sz="1100" b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GB" sz="1100" b="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ED5673A-7812-4BBC-894A-091A9EEFE928}" type="parTrans" cxnId="{D1DFDA78-3A8D-4FF5-AF6D-F055A0A54BE5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EB5FA00-02A1-45E5-BAAA-AA06AD355A1E}" type="sibTrans" cxnId="{D1DFDA78-3A8D-4FF5-AF6D-F055A0A54BE5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D66384-B6CD-468A-891D-0EFE38D3C824}" type="pres">
      <dgm:prSet presAssocID="{062F9B02-98FA-4058-B775-E2B501A9DD9D}" presName="Name0" presStyleCnt="0">
        <dgm:presLayoutVars>
          <dgm:dir/>
          <dgm:animLvl val="lvl"/>
          <dgm:resizeHandles val="exact"/>
        </dgm:presLayoutVars>
      </dgm:prSet>
      <dgm:spPr/>
    </dgm:pt>
    <dgm:pt modelId="{4AA3226F-A346-46F6-9642-8E2A32C4AAD2}" type="pres">
      <dgm:prSet presAssocID="{9DC325E4-938C-42FE-AA1F-6B43FFB57BC8}" presName="parTxOnly" presStyleLbl="node1" presStyleIdx="0" presStyleCnt="4" custScaleX="11430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o-RO"/>
        </a:p>
      </dgm:t>
    </dgm:pt>
    <dgm:pt modelId="{F1870636-894C-4C3E-B1B6-D3A042E2BCF2}" type="pres">
      <dgm:prSet presAssocID="{9041ACEA-6B23-4D0F-835E-9AD990A628AE}" presName="parTxOnlySpace" presStyleCnt="0"/>
      <dgm:spPr/>
    </dgm:pt>
    <dgm:pt modelId="{BB2A8146-01F8-4B1B-A53E-656C193C2C38}" type="pres">
      <dgm:prSet presAssocID="{12B9735E-AC4D-49EE-AAF2-9AA3E4F55729}" presName="parTxOnly" presStyleLbl="node1" presStyleIdx="1" presStyleCnt="4" custScaleX="15601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o-RO"/>
        </a:p>
      </dgm:t>
    </dgm:pt>
    <dgm:pt modelId="{6A216F80-4920-4715-8811-0C91C019DF81}" type="pres">
      <dgm:prSet presAssocID="{CEC19E11-E55A-4EFD-A088-185E14C43043}" presName="parTxOnlySpace" presStyleCnt="0"/>
      <dgm:spPr/>
    </dgm:pt>
    <dgm:pt modelId="{8E411340-F42A-46CB-8853-232384F2F972}" type="pres">
      <dgm:prSet presAssocID="{A0B9D4B6-61EA-45AE-A1E0-E46954545431}" presName="parTxOnly" presStyleLbl="node1" presStyleIdx="2" presStyleCnt="4" custScaleX="13007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o-RO"/>
        </a:p>
      </dgm:t>
    </dgm:pt>
    <dgm:pt modelId="{2CEE99C0-C720-4D47-AAE8-9B043CD7ADD8}" type="pres">
      <dgm:prSet presAssocID="{FEB5FA00-02A1-45E5-BAAA-AA06AD355A1E}" presName="parTxOnlySpace" presStyleCnt="0"/>
      <dgm:spPr/>
    </dgm:pt>
    <dgm:pt modelId="{54533812-F683-482D-AA26-D11B49AE317B}" type="pres">
      <dgm:prSet presAssocID="{7D0D8252-C996-48C8-A55D-0A3D0E4F336F}" presName="parTxOnly" presStyleLbl="node1" presStyleIdx="3" presStyleCnt="4" custScaleX="10850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o-RO"/>
        </a:p>
      </dgm:t>
    </dgm:pt>
  </dgm:ptLst>
  <dgm:cxnLst>
    <dgm:cxn modelId="{18790391-CF81-4802-90D0-4BF94F8281FD}" type="presOf" srcId="{9DC325E4-938C-42FE-AA1F-6B43FFB57BC8}" destId="{4AA3226F-A346-46F6-9642-8E2A32C4AAD2}" srcOrd="0" destOrd="0" presId="urn:microsoft.com/office/officeart/2005/8/layout/chevron1"/>
    <dgm:cxn modelId="{7FDA61D4-A663-4EBB-8DCE-83AB9A8E842D}" type="presOf" srcId="{7D0D8252-C996-48C8-A55D-0A3D0E4F336F}" destId="{54533812-F683-482D-AA26-D11B49AE317B}" srcOrd="0" destOrd="0" presId="urn:microsoft.com/office/officeart/2005/8/layout/chevron1"/>
    <dgm:cxn modelId="{21E2E0FA-2C3B-48B0-B6E0-8633F2A0F51D}" srcId="{062F9B02-98FA-4058-B775-E2B501A9DD9D}" destId="{9DC325E4-938C-42FE-AA1F-6B43FFB57BC8}" srcOrd="0" destOrd="0" parTransId="{31C357F0-58AA-4258-A06B-0863F60EF3DB}" sibTransId="{9041ACEA-6B23-4D0F-835E-9AD990A628AE}"/>
    <dgm:cxn modelId="{4B4AF41E-B488-4580-AE5F-3F78A8EC6CE8}" type="presOf" srcId="{12B9735E-AC4D-49EE-AAF2-9AA3E4F55729}" destId="{BB2A8146-01F8-4B1B-A53E-656C193C2C38}" srcOrd="0" destOrd="0" presId="urn:microsoft.com/office/officeart/2005/8/layout/chevron1"/>
    <dgm:cxn modelId="{94A2941C-5760-46FF-8306-C1A55ECFA00D}" srcId="{062F9B02-98FA-4058-B775-E2B501A9DD9D}" destId="{7D0D8252-C996-48C8-A55D-0A3D0E4F336F}" srcOrd="3" destOrd="0" parTransId="{D1711EC6-DED1-4E19-A54B-A5FFCE7339A2}" sibTransId="{237832B5-E096-43F8-8808-4815F29DDA11}"/>
    <dgm:cxn modelId="{2545226E-B008-472B-BF22-36A01A1746D6}" type="presOf" srcId="{A0B9D4B6-61EA-45AE-A1E0-E46954545431}" destId="{8E411340-F42A-46CB-8853-232384F2F972}" srcOrd="0" destOrd="0" presId="urn:microsoft.com/office/officeart/2005/8/layout/chevron1"/>
    <dgm:cxn modelId="{D1DFDA78-3A8D-4FF5-AF6D-F055A0A54BE5}" srcId="{062F9B02-98FA-4058-B775-E2B501A9DD9D}" destId="{A0B9D4B6-61EA-45AE-A1E0-E46954545431}" srcOrd="2" destOrd="0" parTransId="{7ED5673A-7812-4BBC-894A-091A9EEFE928}" sibTransId="{FEB5FA00-02A1-45E5-BAAA-AA06AD355A1E}"/>
    <dgm:cxn modelId="{D265553B-76A1-4DE3-82A3-AD5434D9A545}" type="presOf" srcId="{062F9B02-98FA-4058-B775-E2B501A9DD9D}" destId="{35D66384-B6CD-468A-891D-0EFE38D3C824}" srcOrd="0" destOrd="0" presId="urn:microsoft.com/office/officeart/2005/8/layout/chevron1"/>
    <dgm:cxn modelId="{B96BCEA9-CF77-4A16-A9D4-3821848D26A9}" srcId="{062F9B02-98FA-4058-B775-E2B501A9DD9D}" destId="{12B9735E-AC4D-49EE-AAF2-9AA3E4F55729}" srcOrd="1" destOrd="0" parTransId="{FA3053FE-595A-40AA-A006-9625A294990C}" sibTransId="{CEC19E11-E55A-4EFD-A088-185E14C43043}"/>
    <dgm:cxn modelId="{F5AEC2B2-E57D-42B3-8A84-62177AAA5A52}" type="presParOf" srcId="{35D66384-B6CD-468A-891D-0EFE38D3C824}" destId="{4AA3226F-A346-46F6-9642-8E2A32C4AAD2}" srcOrd="0" destOrd="0" presId="urn:microsoft.com/office/officeart/2005/8/layout/chevron1"/>
    <dgm:cxn modelId="{1F61F731-0352-4FE6-8156-A9BE7815D893}" type="presParOf" srcId="{35D66384-B6CD-468A-891D-0EFE38D3C824}" destId="{F1870636-894C-4C3E-B1B6-D3A042E2BCF2}" srcOrd="1" destOrd="0" presId="urn:microsoft.com/office/officeart/2005/8/layout/chevron1"/>
    <dgm:cxn modelId="{FD0121A3-3D92-4BC0-B398-AEF13D4F42D5}" type="presParOf" srcId="{35D66384-B6CD-468A-891D-0EFE38D3C824}" destId="{BB2A8146-01F8-4B1B-A53E-656C193C2C38}" srcOrd="2" destOrd="0" presId="urn:microsoft.com/office/officeart/2005/8/layout/chevron1"/>
    <dgm:cxn modelId="{5724B920-21F9-42D7-AFDC-0D116724BB35}" type="presParOf" srcId="{35D66384-B6CD-468A-891D-0EFE38D3C824}" destId="{6A216F80-4920-4715-8811-0C91C019DF81}" srcOrd="3" destOrd="0" presId="urn:microsoft.com/office/officeart/2005/8/layout/chevron1"/>
    <dgm:cxn modelId="{658E0009-9F40-420D-944F-6FFCA084D12D}" type="presParOf" srcId="{35D66384-B6CD-468A-891D-0EFE38D3C824}" destId="{8E411340-F42A-46CB-8853-232384F2F972}" srcOrd="4" destOrd="0" presId="urn:microsoft.com/office/officeart/2005/8/layout/chevron1"/>
    <dgm:cxn modelId="{59B336C2-8001-4FD1-BB4B-412ABF625D91}" type="presParOf" srcId="{35D66384-B6CD-468A-891D-0EFE38D3C824}" destId="{2CEE99C0-C720-4D47-AAE8-9B043CD7ADD8}" srcOrd="5" destOrd="0" presId="urn:microsoft.com/office/officeart/2005/8/layout/chevron1"/>
    <dgm:cxn modelId="{236178B1-E41F-4370-BF91-3434E0A27769}" type="presParOf" srcId="{35D66384-B6CD-468A-891D-0EFE38D3C824}" destId="{54533812-F683-482D-AA26-D11B49AE317B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62F9B02-98FA-4058-B775-E2B501A9DD9D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DC325E4-938C-42FE-AA1F-6B43FFB57BC8}">
      <dgm:prSet phldrT="[Text]" custT="1"/>
      <dgm:spPr>
        <a:solidFill>
          <a:srgbClr val="24297A"/>
        </a:solidFill>
      </dgm:spPr>
      <dgm:t>
        <a:bodyPr/>
        <a:lstStyle/>
        <a:p>
          <a:r>
            <a:rPr lang="ro-RO" sz="1600" b="1" smtClean="0">
              <a:solidFill>
                <a:schemeClr val="bg1"/>
              </a:solidFill>
              <a:latin typeface="Arial Black" pitchFamily="34" charset="0"/>
            </a:rPr>
            <a:t>Producție</a:t>
          </a:r>
          <a:endParaRPr lang="en-GB" sz="1600" b="1" dirty="0">
            <a:solidFill>
              <a:schemeClr val="bg1"/>
            </a:solidFill>
            <a:latin typeface="Arial Black" pitchFamily="34" charset="0"/>
          </a:endParaRPr>
        </a:p>
      </dgm:t>
    </dgm:pt>
    <dgm:pt modelId="{31C357F0-58AA-4258-A06B-0863F60EF3DB}" type="parTrans" cxnId="{21E2E0FA-2C3B-48B0-B6E0-8633F2A0F51D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9041ACEA-6B23-4D0F-835E-9AD990A628AE}" type="sibTrans" cxnId="{21E2E0FA-2C3B-48B0-B6E0-8633F2A0F51D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7D0D8252-C996-48C8-A55D-0A3D0E4F336F}">
      <dgm:prSet phldrT="[Text]" custT="1"/>
      <dgm:spPr>
        <a:solidFill>
          <a:srgbClr val="24297A"/>
        </a:solidFill>
      </dgm:spPr>
      <dgm:t>
        <a:bodyPr/>
        <a:lstStyle/>
        <a:p>
          <a:r>
            <a:rPr lang="ro-RO" sz="1600" b="1" dirty="0" smtClean="0">
              <a:solidFill>
                <a:schemeClr val="bg1"/>
              </a:solidFill>
              <a:latin typeface="Arial Black" pitchFamily="34" charset="0"/>
            </a:rPr>
            <a:t>Vânzare</a:t>
          </a:r>
          <a:r>
            <a:rPr lang="en-US" sz="1600" b="1" dirty="0" smtClean="0">
              <a:solidFill>
                <a:schemeClr val="bg1"/>
              </a:solidFill>
              <a:latin typeface="Arial Black" pitchFamily="34" charset="0"/>
            </a:rPr>
            <a:t>/</a:t>
          </a:r>
          <a:r>
            <a:rPr lang="ro-RO" sz="1600" b="1" dirty="0" smtClean="0">
              <a:solidFill>
                <a:schemeClr val="bg1"/>
              </a:solidFill>
              <a:latin typeface="Arial Black" pitchFamily="34" charset="0"/>
            </a:rPr>
            <a:t>Furnizare</a:t>
          </a:r>
          <a:endParaRPr lang="en-GB" sz="1600" b="1" dirty="0">
            <a:solidFill>
              <a:schemeClr val="bg1"/>
            </a:solidFill>
            <a:latin typeface="Arial Black" pitchFamily="34" charset="0"/>
          </a:endParaRPr>
        </a:p>
      </dgm:t>
    </dgm:pt>
    <dgm:pt modelId="{D1711EC6-DED1-4E19-A54B-A5FFCE7339A2}" type="parTrans" cxnId="{94A2941C-5760-46FF-8306-C1A55ECFA00D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237832B5-E096-43F8-8808-4815F29DDA11}" type="sibTrans" cxnId="{94A2941C-5760-46FF-8306-C1A55ECFA00D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12B9735E-AC4D-49EE-AAF2-9AA3E4F55729}">
      <dgm:prSet phldrT="[Text]" custT="1"/>
      <dgm:spPr>
        <a:solidFill>
          <a:srgbClr val="24297A"/>
        </a:solidFill>
      </dgm:spPr>
      <dgm:t>
        <a:bodyPr/>
        <a:lstStyle/>
        <a:p>
          <a:pPr>
            <a:spcAft>
              <a:spcPts val="0"/>
            </a:spcAft>
          </a:pPr>
          <a:r>
            <a:rPr lang="ro-RO" sz="1600" b="1" dirty="0" smtClean="0">
              <a:solidFill>
                <a:srgbClr val="FFFF99"/>
              </a:solidFill>
              <a:latin typeface="Arial" panose="020B0604020202020204" pitchFamily="34" charset="0"/>
              <a:cs typeface="Arial" panose="020B0604020202020204" pitchFamily="34" charset="0"/>
            </a:rPr>
            <a:t>Transport</a:t>
          </a:r>
        </a:p>
        <a:p>
          <a:pPr>
            <a:spcAft>
              <a:spcPts val="0"/>
            </a:spcAft>
          </a:pPr>
          <a:r>
            <a:rPr lang="ro-RO" sz="1600" b="1" dirty="0" smtClean="0">
              <a:solidFill>
                <a:srgbClr val="FFFF99"/>
              </a:solidFill>
              <a:latin typeface="Arial" panose="020B0604020202020204" pitchFamily="34" charset="0"/>
              <a:cs typeface="Arial" panose="020B0604020202020204" pitchFamily="34" charset="0"/>
            </a:rPr>
            <a:t>(OTS)</a:t>
          </a:r>
          <a:endParaRPr lang="en-GB" sz="1600" b="1" dirty="0">
            <a:solidFill>
              <a:srgbClr val="FFFF99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A3053FE-595A-40AA-A006-9625A294990C}" type="parTrans" cxnId="{B96BCEA9-CF77-4A16-A9D4-3821848D26A9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CEC19E11-E55A-4EFD-A088-185E14C43043}" type="sibTrans" cxnId="{B96BCEA9-CF77-4A16-A9D4-3821848D26A9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A0B9D4B6-61EA-45AE-A1E0-E46954545431}">
      <dgm:prSet phldrT="[Text]" custT="1"/>
      <dgm:spPr>
        <a:solidFill>
          <a:srgbClr val="24297A"/>
        </a:solidFill>
      </dgm:spPr>
      <dgm:t>
        <a:bodyPr/>
        <a:lstStyle/>
        <a:p>
          <a:r>
            <a:rPr lang="ro-RO" sz="1600" b="1" dirty="0" smtClean="0">
              <a:solidFill>
                <a:schemeClr val="bg1"/>
              </a:solidFill>
              <a:latin typeface="Arial Black" pitchFamily="34" charset="0"/>
            </a:rPr>
            <a:t>Distribuţie</a:t>
          </a:r>
          <a:endParaRPr lang="en-GB" sz="1600" b="1" dirty="0">
            <a:solidFill>
              <a:schemeClr val="bg1"/>
            </a:solidFill>
            <a:latin typeface="Arial Black" pitchFamily="34" charset="0"/>
          </a:endParaRPr>
        </a:p>
      </dgm:t>
    </dgm:pt>
    <dgm:pt modelId="{7ED5673A-7812-4BBC-894A-091A9EEFE928}" type="parTrans" cxnId="{D1DFDA78-3A8D-4FF5-AF6D-F055A0A54BE5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FEB5FA00-02A1-45E5-BAAA-AA06AD355A1E}" type="sibTrans" cxnId="{D1DFDA78-3A8D-4FF5-AF6D-F055A0A54BE5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35D66384-B6CD-468A-891D-0EFE38D3C824}" type="pres">
      <dgm:prSet presAssocID="{062F9B02-98FA-4058-B775-E2B501A9DD9D}" presName="Name0" presStyleCnt="0">
        <dgm:presLayoutVars>
          <dgm:dir/>
          <dgm:animLvl val="lvl"/>
          <dgm:resizeHandles val="exact"/>
        </dgm:presLayoutVars>
      </dgm:prSet>
      <dgm:spPr/>
    </dgm:pt>
    <dgm:pt modelId="{4AA3226F-A346-46F6-9642-8E2A32C4AAD2}" type="pres">
      <dgm:prSet presAssocID="{9DC325E4-938C-42FE-AA1F-6B43FFB57BC8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870636-894C-4C3E-B1B6-D3A042E2BCF2}" type="pres">
      <dgm:prSet presAssocID="{9041ACEA-6B23-4D0F-835E-9AD990A628AE}" presName="parTxOnlySpace" presStyleCnt="0"/>
      <dgm:spPr/>
    </dgm:pt>
    <dgm:pt modelId="{BB2A8146-01F8-4B1B-A53E-656C193C2C38}" type="pres">
      <dgm:prSet presAssocID="{12B9735E-AC4D-49EE-AAF2-9AA3E4F5572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216F80-4920-4715-8811-0C91C019DF81}" type="pres">
      <dgm:prSet presAssocID="{CEC19E11-E55A-4EFD-A088-185E14C43043}" presName="parTxOnlySpace" presStyleCnt="0"/>
      <dgm:spPr/>
    </dgm:pt>
    <dgm:pt modelId="{8E411340-F42A-46CB-8853-232384F2F972}" type="pres">
      <dgm:prSet presAssocID="{A0B9D4B6-61EA-45AE-A1E0-E46954545431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EE99C0-C720-4D47-AAE8-9B043CD7ADD8}" type="pres">
      <dgm:prSet presAssocID="{FEB5FA00-02A1-45E5-BAAA-AA06AD355A1E}" presName="parTxOnlySpace" presStyleCnt="0"/>
      <dgm:spPr/>
    </dgm:pt>
    <dgm:pt modelId="{54533812-F683-482D-AA26-D11B49AE317B}" type="pres">
      <dgm:prSet presAssocID="{7D0D8252-C996-48C8-A55D-0A3D0E4F336F}" presName="parTxOnly" presStyleLbl="node1" presStyleIdx="3" presStyleCnt="4" custScaleX="12835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96BCEA9-CF77-4A16-A9D4-3821848D26A9}" srcId="{062F9B02-98FA-4058-B775-E2B501A9DD9D}" destId="{12B9735E-AC4D-49EE-AAF2-9AA3E4F55729}" srcOrd="1" destOrd="0" parTransId="{FA3053FE-595A-40AA-A006-9625A294990C}" sibTransId="{CEC19E11-E55A-4EFD-A088-185E14C43043}"/>
    <dgm:cxn modelId="{94A2941C-5760-46FF-8306-C1A55ECFA00D}" srcId="{062F9B02-98FA-4058-B775-E2B501A9DD9D}" destId="{7D0D8252-C996-48C8-A55D-0A3D0E4F336F}" srcOrd="3" destOrd="0" parTransId="{D1711EC6-DED1-4E19-A54B-A5FFCE7339A2}" sibTransId="{237832B5-E096-43F8-8808-4815F29DDA11}"/>
    <dgm:cxn modelId="{85F8D6A4-1629-40D5-A234-2FDDA3C8ACA8}" type="presOf" srcId="{A0B9D4B6-61EA-45AE-A1E0-E46954545431}" destId="{8E411340-F42A-46CB-8853-232384F2F972}" srcOrd="0" destOrd="0" presId="urn:microsoft.com/office/officeart/2005/8/layout/chevron1"/>
    <dgm:cxn modelId="{96859EDA-3302-4719-AF74-7A171BDE7966}" type="presOf" srcId="{9DC325E4-938C-42FE-AA1F-6B43FFB57BC8}" destId="{4AA3226F-A346-46F6-9642-8E2A32C4AAD2}" srcOrd="0" destOrd="0" presId="urn:microsoft.com/office/officeart/2005/8/layout/chevron1"/>
    <dgm:cxn modelId="{03D53F69-95C5-4C61-8171-BCFE34636BD4}" type="presOf" srcId="{12B9735E-AC4D-49EE-AAF2-9AA3E4F55729}" destId="{BB2A8146-01F8-4B1B-A53E-656C193C2C38}" srcOrd="0" destOrd="0" presId="urn:microsoft.com/office/officeart/2005/8/layout/chevron1"/>
    <dgm:cxn modelId="{9059ABAC-CDC5-4515-92C6-25EB5250958F}" type="presOf" srcId="{7D0D8252-C996-48C8-A55D-0A3D0E4F336F}" destId="{54533812-F683-482D-AA26-D11B49AE317B}" srcOrd="0" destOrd="0" presId="urn:microsoft.com/office/officeart/2005/8/layout/chevron1"/>
    <dgm:cxn modelId="{21E2E0FA-2C3B-48B0-B6E0-8633F2A0F51D}" srcId="{062F9B02-98FA-4058-B775-E2B501A9DD9D}" destId="{9DC325E4-938C-42FE-AA1F-6B43FFB57BC8}" srcOrd="0" destOrd="0" parTransId="{31C357F0-58AA-4258-A06B-0863F60EF3DB}" sibTransId="{9041ACEA-6B23-4D0F-835E-9AD990A628AE}"/>
    <dgm:cxn modelId="{3D88CF1D-36DA-4990-859B-6E1757AAC51B}" type="presOf" srcId="{062F9B02-98FA-4058-B775-E2B501A9DD9D}" destId="{35D66384-B6CD-468A-891D-0EFE38D3C824}" srcOrd="0" destOrd="0" presId="urn:microsoft.com/office/officeart/2005/8/layout/chevron1"/>
    <dgm:cxn modelId="{D1DFDA78-3A8D-4FF5-AF6D-F055A0A54BE5}" srcId="{062F9B02-98FA-4058-B775-E2B501A9DD9D}" destId="{A0B9D4B6-61EA-45AE-A1E0-E46954545431}" srcOrd="2" destOrd="0" parTransId="{7ED5673A-7812-4BBC-894A-091A9EEFE928}" sibTransId="{FEB5FA00-02A1-45E5-BAAA-AA06AD355A1E}"/>
    <dgm:cxn modelId="{3C17D8D1-0097-4D64-9500-D43DB131873D}" type="presParOf" srcId="{35D66384-B6CD-468A-891D-0EFE38D3C824}" destId="{4AA3226F-A346-46F6-9642-8E2A32C4AAD2}" srcOrd="0" destOrd="0" presId="urn:microsoft.com/office/officeart/2005/8/layout/chevron1"/>
    <dgm:cxn modelId="{D7133B22-B444-4697-8814-20E0953E0F6E}" type="presParOf" srcId="{35D66384-B6CD-468A-891D-0EFE38D3C824}" destId="{F1870636-894C-4C3E-B1B6-D3A042E2BCF2}" srcOrd="1" destOrd="0" presId="urn:microsoft.com/office/officeart/2005/8/layout/chevron1"/>
    <dgm:cxn modelId="{CBBE2E72-2640-4B38-A643-F4747B5C3996}" type="presParOf" srcId="{35D66384-B6CD-468A-891D-0EFE38D3C824}" destId="{BB2A8146-01F8-4B1B-A53E-656C193C2C38}" srcOrd="2" destOrd="0" presId="urn:microsoft.com/office/officeart/2005/8/layout/chevron1"/>
    <dgm:cxn modelId="{D69F31EB-4C15-45F6-BD87-472ECA2F2C90}" type="presParOf" srcId="{35D66384-B6CD-468A-891D-0EFE38D3C824}" destId="{6A216F80-4920-4715-8811-0C91C019DF81}" srcOrd="3" destOrd="0" presId="urn:microsoft.com/office/officeart/2005/8/layout/chevron1"/>
    <dgm:cxn modelId="{845A5860-65AA-40C7-A20A-8C007FD6A635}" type="presParOf" srcId="{35D66384-B6CD-468A-891D-0EFE38D3C824}" destId="{8E411340-F42A-46CB-8853-232384F2F972}" srcOrd="4" destOrd="0" presId="urn:microsoft.com/office/officeart/2005/8/layout/chevron1"/>
    <dgm:cxn modelId="{2AE4B8FE-B42C-4E65-A48A-E0A26AC8E91C}" type="presParOf" srcId="{35D66384-B6CD-468A-891D-0EFE38D3C824}" destId="{2CEE99C0-C720-4D47-AAE8-9B043CD7ADD8}" srcOrd="5" destOrd="0" presId="urn:microsoft.com/office/officeart/2005/8/layout/chevron1"/>
    <dgm:cxn modelId="{2E5B97A6-367A-4B9C-AC07-39C3003B0FE6}" type="presParOf" srcId="{35D66384-B6CD-468A-891D-0EFE38D3C824}" destId="{54533812-F683-482D-AA26-D11B49AE317B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A5DF6E-04DB-4353-968C-A34095F2B6BF}">
      <dsp:nvSpPr>
        <dsp:cNvPr id="0" name=""/>
        <dsp:cNvSpPr/>
      </dsp:nvSpPr>
      <dsp:spPr>
        <a:xfrm>
          <a:off x="2789" y="0"/>
          <a:ext cx="2853594" cy="359705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o-RO" altLang="en-US" sz="1200" b="0" kern="120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Activitatea Operaţională</a:t>
          </a:r>
          <a:endParaRPr lang="en-US" sz="1200" b="0" kern="1200" dirty="0"/>
        </a:p>
      </dsp:txBody>
      <dsp:txXfrm>
        <a:off x="13324" y="10535"/>
        <a:ext cx="2832524" cy="338635"/>
      </dsp:txXfrm>
    </dsp:sp>
    <dsp:sp modelId="{B7AFA790-2A3F-4B30-9762-EDF7DC3F3C9C}">
      <dsp:nvSpPr>
        <dsp:cNvPr id="0" name=""/>
        <dsp:cNvSpPr/>
      </dsp:nvSpPr>
      <dsp:spPr>
        <a:xfrm>
          <a:off x="4180" y="408168"/>
          <a:ext cx="2848023" cy="122607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altLang="en-US" sz="1100" b="0" kern="1200" dirty="0" err="1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Europ</a:t>
          </a: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a</a:t>
          </a: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altLang="en-US" sz="1100" b="0" kern="12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/ CEE / </a:t>
          </a: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Rom</a:t>
          </a: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â</a:t>
          </a:r>
          <a:r>
            <a:rPr lang="en-US" altLang="en-US" sz="1100" b="0" kern="1200" dirty="0" err="1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nia</a:t>
          </a:r>
          <a:endParaRPr lang="en-US" altLang="en-US" sz="1100" b="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altLang="en-US" sz="1100" b="0" kern="1200" dirty="0" err="1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Ut</a:t>
          </a: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ilităţi</a:t>
          </a: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altLang="en-US" sz="1100" b="0" kern="12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/ </a:t>
          </a: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Reţea de transport a energiei electrice</a:t>
          </a:r>
          <a:endParaRPr lang="en-US" altLang="en-US" sz="1100" b="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Monopol reglementat</a:t>
          </a:r>
          <a:endParaRPr lang="en-US" altLang="en-US" sz="1100" b="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40091" y="444079"/>
        <a:ext cx="2776201" cy="11542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A5DF6E-04DB-4353-968C-A34095F2B6BF}">
      <dsp:nvSpPr>
        <dsp:cNvPr id="0" name=""/>
        <dsp:cNvSpPr/>
      </dsp:nvSpPr>
      <dsp:spPr>
        <a:xfrm>
          <a:off x="2654" y="0"/>
          <a:ext cx="2715393" cy="304162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o-RO" altLang="en-US" sz="1200" b="0" kern="120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Profil general</a:t>
          </a:r>
          <a:endParaRPr lang="en-US" sz="1200" b="0" kern="1200" dirty="0"/>
        </a:p>
      </dsp:txBody>
      <dsp:txXfrm>
        <a:off x="11563" y="8909"/>
        <a:ext cx="2697575" cy="286344"/>
      </dsp:txXfrm>
    </dsp:sp>
    <dsp:sp modelId="{B7AFA790-2A3F-4B30-9762-EDF7DC3F3C9C}">
      <dsp:nvSpPr>
        <dsp:cNvPr id="0" name=""/>
        <dsp:cNvSpPr/>
      </dsp:nvSpPr>
      <dsp:spPr>
        <a:xfrm>
          <a:off x="3977" y="341668"/>
          <a:ext cx="2710092" cy="1300790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o-RO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Preţuri reglementate</a:t>
          </a:r>
          <a:endParaRPr 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GB" sz="1100" b="0" kern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Monopol</a:t>
          </a:r>
          <a:r>
            <a:rPr lang="en-GB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100" b="0" kern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na</a:t>
          </a:r>
          <a:r>
            <a:rPr lang="ro-RO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ț</a:t>
          </a:r>
          <a:r>
            <a:rPr lang="en-GB" sz="1100" b="0" kern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onal</a:t>
          </a:r>
          <a:r>
            <a:rPr lang="en-GB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100" b="0" kern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pe</a:t>
          </a:r>
          <a:r>
            <a:rPr lang="en-GB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100" b="0" kern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erviciul</a:t>
          </a:r>
          <a:r>
            <a:rPr lang="en-GB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de transport al </a:t>
          </a:r>
          <a:r>
            <a:rPr lang="en-GB" sz="1100" b="0" kern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energiei</a:t>
          </a:r>
          <a:r>
            <a:rPr lang="en-GB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100" b="0" kern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electrice</a:t>
          </a:r>
          <a:endParaRPr 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Model de afaceri defensiv</a:t>
          </a:r>
          <a:endParaRPr lang="en-US" alt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Flux de numerar stabil şi previ</a:t>
          </a: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z</a:t>
          </a: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bil</a:t>
          </a:r>
          <a:endParaRPr lang="en-US" alt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2076" y="379767"/>
        <a:ext cx="2633894" cy="122459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A5DF6E-04DB-4353-968C-A34095F2B6BF}">
      <dsp:nvSpPr>
        <dsp:cNvPr id="0" name=""/>
        <dsp:cNvSpPr/>
      </dsp:nvSpPr>
      <dsp:spPr>
        <a:xfrm>
          <a:off x="2654" y="0"/>
          <a:ext cx="2715393" cy="304162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o-RO" altLang="en-US" sz="1200" b="0" kern="120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Profil de reglementare</a:t>
          </a:r>
          <a:endParaRPr lang="en-US" sz="1200" b="0" kern="1200" dirty="0"/>
        </a:p>
      </dsp:txBody>
      <dsp:txXfrm>
        <a:off x="11563" y="8909"/>
        <a:ext cx="2697575" cy="286344"/>
      </dsp:txXfrm>
    </dsp:sp>
    <dsp:sp modelId="{B7AFA790-2A3F-4B30-9762-EDF7DC3F3C9C}">
      <dsp:nvSpPr>
        <dsp:cNvPr id="0" name=""/>
        <dsp:cNvSpPr/>
      </dsp:nvSpPr>
      <dsp:spPr>
        <a:xfrm>
          <a:off x="3977" y="341668"/>
          <a:ext cx="2710092" cy="1300790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o-RO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ransparenţă și vizibilitate </a:t>
          </a: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ro-RO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Perioade de reglementare a tarifelor de 5 ani cu revizuiri anuale</a:t>
          </a: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o-RO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onfigurare clară pentru recuperarea costurilor </a:t>
          </a: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OPEX </a:t>
          </a:r>
          <a:r>
            <a:rPr lang="en-US" sz="1100" b="0" kern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&amp; CAPEX </a:t>
          </a: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en-US" sz="1100" b="0" kern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arif</a:t>
          </a:r>
          <a:r>
            <a:rPr lang="ro-RO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reglementat</a:t>
          </a: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OI* </a:t>
          </a:r>
          <a:r>
            <a:rPr lang="ro-RO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glementat </a:t>
          </a: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ro-RO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încorporat în tarifele de reţea</a:t>
          </a: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2076" y="379767"/>
        <a:ext cx="2633894" cy="122459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A5DF6E-04DB-4353-968C-A34095F2B6BF}">
      <dsp:nvSpPr>
        <dsp:cNvPr id="0" name=""/>
        <dsp:cNvSpPr/>
      </dsp:nvSpPr>
      <dsp:spPr>
        <a:xfrm>
          <a:off x="2789" y="0"/>
          <a:ext cx="2853594" cy="303633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o-RO" altLang="en-US" sz="1200" b="0" kern="120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Licenţe, Active, Certificări</a:t>
          </a:r>
          <a:endParaRPr lang="en-US" sz="1200" b="0" kern="1200" dirty="0"/>
        </a:p>
      </dsp:txBody>
      <dsp:txXfrm>
        <a:off x="11682" y="8893"/>
        <a:ext cx="2835808" cy="285847"/>
      </dsp:txXfrm>
    </dsp:sp>
    <dsp:sp modelId="{B7AFA790-2A3F-4B30-9762-EDF7DC3F3C9C}">
      <dsp:nvSpPr>
        <dsp:cNvPr id="0" name=""/>
        <dsp:cNvSpPr/>
      </dsp:nvSpPr>
      <dsp:spPr>
        <a:xfrm>
          <a:off x="4180" y="344717"/>
          <a:ext cx="2848023" cy="129852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25 ani Licenţa pentru exploatarea SEN</a:t>
          </a:r>
          <a:endParaRPr lang="en-US" altLang="en-US" sz="1100" b="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49 ani Acord de concesiune din partea Guvernului României (activele reţelei)</a:t>
          </a:r>
          <a:endParaRPr lang="en-US" altLang="en-US" sz="1100" b="0" kern="1200" dirty="0" smtClean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Certificarea independenţei în cadrul sectorului</a:t>
          </a: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: </a:t>
          </a: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Modelul separării proprietății (</a:t>
          </a:r>
          <a:r>
            <a:rPr lang="ro-RO" altLang="en-US" sz="1100" b="0" i="1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ownership unbundling</a:t>
          </a: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)</a:t>
          </a:r>
          <a:endParaRPr lang="en-US" altLang="en-US" sz="1100" b="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42213" y="382750"/>
        <a:ext cx="2771957" cy="122246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A3226F-A346-46F6-9642-8E2A32C4AAD2}">
      <dsp:nvSpPr>
        <dsp:cNvPr id="0" name=""/>
        <dsp:cNvSpPr/>
      </dsp:nvSpPr>
      <dsp:spPr>
        <a:xfrm>
          <a:off x="1062" y="0"/>
          <a:ext cx="1460206" cy="446487"/>
        </a:xfrm>
        <a:prstGeom prst="chevron">
          <a:avLst/>
        </a:prstGeom>
        <a:noFill/>
        <a:ln w="12700" cap="flat" cmpd="sng" algn="ctr">
          <a:solidFill>
            <a:schemeClr val="bg1">
              <a:lumMod val="75000"/>
            </a:schemeClr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o-RO" sz="1100" b="1" kern="1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Generare</a:t>
          </a:r>
          <a:endParaRPr lang="en-US" sz="1100" b="1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0" kern="1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ro-RO" sz="1100" b="0" kern="1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entrale</a:t>
          </a:r>
          <a:r>
            <a:rPr lang="en-US" sz="1100" b="0" kern="1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GB" sz="1100" b="0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24306" y="0"/>
        <a:ext cx="1013719" cy="446487"/>
      </dsp:txXfrm>
    </dsp:sp>
    <dsp:sp modelId="{BB2A8146-01F8-4B1B-A53E-656C193C2C38}">
      <dsp:nvSpPr>
        <dsp:cNvPr id="0" name=""/>
        <dsp:cNvSpPr/>
      </dsp:nvSpPr>
      <dsp:spPr>
        <a:xfrm>
          <a:off x="1333519" y="0"/>
          <a:ext cx="1993084" cy="446487"/>
        </a:xfrm>
        <a:prstGeom prst="chevron">
          <a:avLst/>
        </a:prstGeom>
        <a:noFill/>
        <a:ln w="12700" cap="flat" cmpd="sng" algn="ctr">
          <a:solidFill>
            <a:schemeClr val="accent1">
              <a:lumMod val="75000"/>
            </a:schemeClr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462"/>
            </a:spcAft>
          </a:pPr>
          <a:r>
            <a:rPr lang="en-US" sz="1100" b="1" kern="12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</a:t>
          </a:r>
          <a:r>
            <a:rPr lang="ro-RO" sz="1100" b="1" kern="12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ansport</a:t>
          </a:r>
          <a:endParaRPr lang="en-US" sz="1100" b="1" kern="1200" dirty="0">
            <a:solidFill>
              <a:schemeClr val="accent1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100" b="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ro-RO" sz="1100" b="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Reţea ÎT</a:t>
          </a:r>
          <a:r>
            <a:rPr lang="en-US" sz="1100" b="0" kern="12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ro-RO" sz="1100" b="0" kern="1200" dirty="0">
            <a:solidFill>
              <a:schemeClr val="accent1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556763" y="0"/>
        <a:ext cx="1546597" cy="446487"/>
      </dsp:txXfrm>
    </dsp:sp>
    <dsp:sp modelId="{8E411340-F42A-46CB-8853-232384F2F972}">
      <dsp:nvSpPr>
        <dsp:cNvPr id="0" name=""/>
        <dsp:cNvSpPr/>
      </dsp:nvSpPr>
      <dsp:spPr>
        <a:xfrm>
          <a:off x="3198855" y="0"/>
          <a:ext cx="1661666" cy="446487"/>
        </a:xfrm>
        <a:prstGeom prst="chevron">
          <a:avLst/>
        </a:prstGeom>
        <a:noFill/>
        <a:ln w="12700" cap="flat" cmpd="sng" algn="ctr">
          <a:solidFill>
            <a:schemeClr val="bg1">
              <a:lumMod val="75000"/>
            </a:schemeClr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is</a:t>
          </a:r>
          <a:r>
            <a:rPr lang="ro-RO" sz="1100" b="1" kern="120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ribuţie</a:t>
          </a:r>
          <a:endParaRPr lang="en-US" sz="1100" b="1" kern="1200" smtClean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0" kern="120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ro-RO" sz="1100" b="0" kern="120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ţele MT şi JT</a:t>
          </a:r>
          <a:r>
            <a:rPr lang="en-US" sz="1100" b="0" kern="120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GB" sz="1100" b="0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422099" y="0"/>
        <a:ext cx="1215179" cy="446487"/>
      </dsp:txXfrm>
    </dsp:sp>
    <dsp:sp modelId="{54533812-F683-482D-AA26-D11B49AE317B}">
      <dsp:nvSpPr>
        <dsp:cNvPr id="0" name=""/>
        <dsp:cNvSpPr/>
      </dsp:nvSpPr>
      <dsp:spPr>
        <a:xfrm>
          <a:off x="4732773" y="0"/>
          <a:ext cx="1386150" cy="446487"/>
        </a:xfrm>
        <a:prstGeom prst="chevron">
          <a:avLst/>
        </a:prstGeom>
        <a:noFill/>
        <a:ln w="12700" cap="flat" cmpd="sng" algn="ctr">
          <a:solidFill>
            <a:schemeClr val="bg1">
              <a:lumMod val="75000"/>
            </a:schemeClr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o-RO" sz="1100" b="1" kern="1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onsumatori finali</a:t>
          </a:r>
          <a:endParaRPr lang="en-GB" sz="1100" b="1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956017" y="0"/>
        <a:ext cx="939663" cy="44648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A3226F-A346-46F6-9642-8E2A32C4AAD2}">
      <dsp:nvSpPr>
        <dsp:cNvPr id="0" name=""/>
        <dsp:cNvSpPr/>
      </dsp:nvSpPr>
      <dsp:spPr>
        <a:xfrm>
          <a:off x="1066" y="8127"/>
          <a:ext cx="2435860" cy="974344"/>
        </a:xfrm>
        <a:prstGeom prst="chevron">
          <a:avLst/>
        </a:prstGeom>
        <a:solidFill>
          <a:srgbClr val="24297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o-RO" sz="1600" b="1" kern="1200" smtClean="0">
              <a:solidFill>
                <a:schemeClr val="bg1"/>
              </a:solidFill>
              <a:latin typeface="Arial Black" pitchFamily="34" charset="0"/>
            </a:rPr>
            <a:t>Producție</a:t>
          </a:r>
          <a:endParaRPr lang="en-GB" sz="1600" b="1" kern="1200" dirty="0">
            <a:solidFill>
              <a:schemeClr val="bg1"/>
            </a:solidFill>
            <a:latin typeface="Arial Black" pitchFamily="34" charset="0"/>
          </a:endParaRPr>
        </a:p>
      </dsp:txBody>
      <dsp:txXfrm>
        <a:off x="488238" y="8127"/>
        <a:ext cx="1461516" cy="974344"/>
      </dsp:txXfrm>
    </dsp:sp>
    <dsp:sp modelId="{BB2A8146-01F8-4B1B-A53E-656C193C2C38}">
      <dsp:nvSpPr>
        <dsp:cNvPr id="0" name=""/>
        <dsp:cNvSpPr/>
      </dsp:nvSpPr>
      <dsp:spPr>
        <a:xfrm>
          <a:off x="2193340" y="8127"/>
          <a:ext cx="2435860" cy="974344"/>
        </a:xfrm>
        <a:prstGeom prst="chevron">
          <a:avLst/>
        </a:prstGeom>
        <a:solidFill>
          <a:srgbClr val="24297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o-RO" sz="1600" b="1" kern="1200" dirty="0" smtClean="0">
              <a:solidFill>
                <a:srgbClr val="FFFF99"/>
              </a:solidFill>
              <a:latin typeface="Arial" panose="020B0604020202020204" pitchFamily="34" charset="0"/>
              <a:cs typeface="Arial" panose="020B0604020202020204" pitchFamily="34" charset="0"/>
            </a:rPr>
            <a:t>Transport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o-RO" sz="1600" b="1" kern="1200" dirty="0" smtClean="0">
              <a:solidFill>
                <a:srgbClr val="FFFF99"/>
              </a:solidFill>
              <a:latin typeface="Arial" panose="020B0604020202020204" pitchFamily="34" charset="0"/>
              <a:cs typeface="Arial" panose="020B0604020202020204" pitchFamily="34" charset="0"/>
            </a:rPr>
            <a:t>(OTS)</a:t>
          </a:r>
          <a:endParaRPr lang="en-GB" sz="1600" b="1" kern="1200" dirty="0">
            <a:solidFill>
              <a:srgbClr val="FFFF99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680512" y="8127"/>
        <a:ext cx="1461516" cy="974344"/>
      </dsp:txXfrm>
    </dsp:sp>
    <dsp:sp modelId="{8E411340-F42A-46CB-8853-232384F2F972}">
      <dsp:nvSpPr>
        <dsp:cNvPr id="0" name=""/>
        <dsp:cNvSpPr/>
      </dsp:nvSpPr>
      <dsp:spPr>
        <a:xfrm>
          <a:off x="4385614" y="8127"/>
          <a:ext cx="2435860" cy="974344"/>
        </a:xfrm>
        <a:prstGeom prst="chevron">
          <a:avLst/>
        </a:prstGeom>
        <a:solidFill>
          <a:srgbClr val="24297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o-RO" sz="1600" b="1" kern="1200" dirty="0" smtClean="0">
              <a:solidFill>
                <a:schemeClr val="bg1"/>
              </a:solidFill>
              <a:latin typeface="Arial Black" pitchFamily="34" charset="0"/>
            </a:rPr>
            <a:t>Distribuţie</a:t>
          </a:r>
          <a:endParaRPr lang="en-GB" sz="1600" b="1" kern="1200" dirty="0">
            <a:solidFill>
              <a:schemeClr val="bg1"/>
            </a:solidFill>
            <a:latin typeface="Arial Black" pitchFamily="34" charset="0"/>
          </a:endParaRPr>
        </a:p>
      </dsp:txBody>
      <dsp:txXfrm>
        <a:off x="4872786" y="8127"/>
        <a:ext cx="1461516" cy="974344"/>
      </dsp:txXfrm>
    </dsp:sp>
    <dsp:sp modelId="{54533812-F683-482D-AA26-D11B49AE317B}">
      <dsp:nvSpPr>
        <dsp:cNvPr id="0" name=""/>
        <dsp:cNvSpPr/>
      </dsp:nvSpPr>
      <dsp:spPr>
        <a:xfrm>
          <a:off x="6577888" y="8127"/>
          <a:ext cx="3126572" cy="974344"/>
        </a:xfrm>
        <a:prstGeom prst="chevron">
          <a:avLst/>
        </a:prstGeom>
        <a:solidFill>
          <a:srgbClr val="24297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o-RO" sz="1600" b="1" kern="1200" dirty="0" smtClean="0">
              <a:solidFill>
                <a:schemeClr val="bg1"/>
              </a:solidFill>
              <a:latin typeface="Arial Black" pitchFamily="34" charset="0"/>
            </a:rPr>
            <a:t>Vânzare</a:t>
          </a:r>
          <a:r>
            <a:rPr lang="en-US" sz="1600" b="1" kern="1200" dirty="0" smtClean="0">
              <a:solidFill>
                <a:schemeClr val="bg1"/>
              </a:solidFill>
              <a:latin typeface="Arial Black" pitchFamily="34" charset="0"/>
            </a:rPr>
            <a:t>/</a:t>
          </a:r>
          <a:r>
            <a:rPr lang="ro-RO" sz="1600" b="1" kern="1200" dirty="0" smtClean="0">
              <a:solidFill>
                <a:schemeClr val="bg1"/>
              </a:solidFill>
              <a:latin typeface="Arial Black" pitchFamily="34" charset="0"/>
            </a:rPr>
            <a:t>Furnizare</a:t>
          </a:r>
          <a:endParaRPr lang="en-GB" sz="1600" b="1" kern="1200" dirty="0">
            <a:solidFill>
              <a:schemeClr val="bg1"/>
            </a:solidFill>
            <a:latin typeface="Arial Black" pitchFamily="34" charset="0"/>
          </a:endParaRPr>
        </a:p>
      </dsp:txBody>
      <dsp:txXfrm>
        <a:off x="7065060" y="8127"/>
        <a:ext cx="2152228" cy="9743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076</cdr:x>
      <cdr:y>0.14425</cdr:y>
    </cdr:from>
    <cdr:to>
      <cdr:x>0.84282</cdr:x>
      <cdr:y>0.24641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567441" y="406694"/>
          <a:ext cx="1701759" cy="28803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2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o-RO" sz="1200" b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cționariat</a:t>
          </a:r>
          <a:endParaRPr lang="ro-RO" sz="12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7467</cdr:x>
      <cdr:y>0.7359</cdr:y>
    </cdr:from>
    <cdr:to>
      <cdr:x>0.63857</cdr:x>
      <cdr:y>0.88892</cdr:y>
    </cdr:to>
    <mc:AlternateContent xmlns:mc="http://schemas.openxmlformats.org/markup-compatibility/2006" xmlns:a14="http://schemas.microsoft.com/office/drawing/2010/main">
      <mc:Choice Requires="a14">
        <cdr:pic>
          <cdr:nvPicPr>
            <cdr:cNvPr id="5" name="Imagine 13"/>
            <cdr:cNvPicPr>
              <a:picLocks xmlns:a="http://schemas.openxmlformats.org/drawingml/2006/main" noChangeAspect="1" noChangeArrowheads="1"/>
              <a:extLst xmlns:a="http://schemas.openxmlformats.org/drawingml/2006/main"/>
            </cdr:cNvPicPr>
          </cdr:nvPicPr>
          <cdr:blipFill>
            <a:blip xmlns:a="http://schemas.openxmlformats.org/drawingml/2006/main" xmlns:r="http://schemas.openxmlformats.org/officeDocument/2006/relationships" r:embed="rId1"/>
            <a:srcRect xmlns:a="http://schemas.openxmlformats.org/drawingml/2006/main"/>
            <a:stretch xmlns:a="http://schemas.openxmlformats.org/drawingml/2006/main">
              <a:fillRect/>
            </a:stretch>
          </cdr:blipFill>
          <cdr:spPr bwMode="auto">
            <a:xfrm xmlns:a="http://schemas.openxmlformats.org/drawingml/2006/main">
              <a:off x="1673444" y="1728193"/>
              <a:ext cx="1178706" cy="359354"/>
            </a:xfrm>
            <a:prstGeom xmlns:a="http://schemas.openxmlformats.org/drawingml/2006/main" prst="rect">
              <a:avLst/>
            </a:prstGeom>
            <a:noFill xmlns:a="http://schemas.openxmlformats.org/drawingml/2006/main"/>
            <a:extLst xmlns:a="http://schemas.openxmlformats.org/drawingml/2006/main"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</a:extLst>
          </cdr:spPr>
        </cdr:pic>
      </mc:Choice>
      <mc:Fallback xmlns=""/>
    </mc:AlternateContent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5"/>
            <a:ext cx="2949786" cy="496967"/>
          </a:xfrm>
          <a:prstGeom prst="rect">
            <a:avLst/>
          </a:prstGeom>
        </p:spPr>
        <p:txBody>
          <a:bodyPr vert="horz" lIns="95650" tIns="47824" rIns="95650" bIns="478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45" y="5"/>
            <a:ext cx="2949786" cy="496967"/>
          </a:xfrm>
          <a:prstGeom prst="rect">
            <a:avLst/>
          </a:prstGeom>
        </p:spPr>
        <p:txBody>
          <a:bodyPr vert="horz" lIns="95650" tIns="47824" rIns="95650" bIns="47824" rtlCol="0"/>
          <a:lstStyle>
            <a:lvl1pPr algn="r">
              <a:defRPr sz="1300"/>
            </a:lvl1pPr>
          </a:lstStyle>
          <a:p>
            <a:fld id="{75E7F121-A1AA-4564-979E-090F7F29048E}" type="datetimeFigureOut">
              <a:rPr lang="en-US" smtClean="0"/>
              <a:pPr/>
              <a:t>12/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50" tIns="47824" rIns="95650" bIns="4782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5650" tIns="47824" rIns="95650" bIns="4782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9440649"/>
            <a:ext cx="2949786" cy="496967"/>
          </a:xfrm>
          <a:prstGeom prst="rect">
            <a:avLst/>
          </a:prstGeom>
        </p:spPr>
        <p:txBody>
          <a:bodyPr vert="horz" lIns="95650" tIns="47824" rIns="95650" bIns="478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45" y="9440649"/>
            <a:ext cx="2949786" cy="496967"/>
          </a:xfrm>
          <a:prstGeom prst="rect">
            <a:avLst/>
          </a:prstGeom>
        </p:spPr>
        <p:txBody>
          <a:bodyPr vert="horz" lIns="95650" tIns="47824" rIns="95650" bIns="47824" rtlCol="0" anchor="b"/>
          <a:lstStyle>
            <a:lvl1pPr algn="r">
              <a:defRPr sz="1300"/>
            </a:lvl1pPr>
          </a:lstStyle>
          <a:p>
            <a:fld id="{08DD35F4-DCEF-4938-9C9A-F963C61974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135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11" Type="http://schemas.openxmlformats.org/officeDocument/2006/relationships/image" Target="../media/image7.png"/><Relationship Id="rId5" Type="http://schemas.openxmlformats.org/officeDocument/2006/relationships/image" Target="../media/image2.emf"/><Relationship Id="rId10" Type="http://schemas.openxmlformats.org/officeDocument/2006/relationships/image" Target="../media/image6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1903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664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1"/>
            <a:ext cx="2414588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6" y="274641"/>
            <a:ext cx="7078663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236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/>
              <a:pPr/>
              <a:t>12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Slide Number Placeholder 10"/>
          <p:cNvSpPr txBox="1">
            <a:spLocks/>
          </p:cNvSpPr>
          <p:nvPr userDrawn="1"/>
        </p:nvSpPr>
        <p:spPr>
          <a:xfrm>
            <a:off x="9384633" y="6619285"/>
            <a:ext cx="457200" cy="202619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D7412C5-E6A2-4DA5-840B-684D8B8422F6}" type="slidenum">
              <a:rPr lang="en-US" smtClean="0">
                <a:solidFill>
                  <a:schemeClr val="bg1"/>
                </a:solidFill>
                <a:latin typeface="Arial Black" panose="020B0A04020102020204" pitchFamily="34" charset="0"/>
              </a:rPr>
              <a:pPr algn="ctr"/>
              <a:t>‹#›</a:t>
            </a:fld>
            <a:endParaRPr lang="en-US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7017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025635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10"/>
          <p:cNvSpPr txBox="1">
            <a:spLocks/>
          </p:cNvSpPr>
          <p:nvPr userDrawn="1"/>
        </p:nvSpPr>
        <p:spPr>
          <a:xfrm>
            <a:off x="9384634" y="6522605"/>
            <a:ext cx="457200" cy="29930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D7412C5-E6A2-4DA5-840B-684D8B8422F6}" type="slidenum">
              <a:rPr lang="en-US" smtClean="0">
                <a:solidFill>
                  <a:prstClr val="white"/>
                </a:solidFill>
                <a:latin typeface="Arial Black" panose="020B0A04020102020204" pitchFamily="34" charset="0"/>
              </a:rPr>
              <a:pPr algn="ctr"/>
              <a:t>‹#›</a:t>
            </a:fld>
            <a:endParaRPr lang="en-US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" r="330"/>
          <a:stretch/>
        </p:blipFill>
        <p:spPr bwMode="auto">
          <a:xfrm>
            <a:off x="-106680" y="6096002"/>
            <a:ext cx="10028896" cy="110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 descr="http://igienaserv.ro/wp-content/uploads/2013/01/Transelectrica_Logo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236854"/>
            <a:ext cx="589598" cy="57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" r="330"/>
          <a:stretch/>
        </p:blipFill>
        <p:spPr bwMode="auto">
          <a:xfrm>
            <a:off x="-107657" y="609602"/>
            <a:ext cx="10028896" cy="110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0835" name="Picture 3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2942" y="6236854"/>
            <a:ext cx="1526858" cy="160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7"/>
          <p:cNvGrpSpPr/>
          <p:nvPr userDrawn="1"/>
        </p:nvGrpSpPr>
        <p:grpSpPr>
          <a:xfrm>
            <a:off x="5627688" y="6403975"/>
            <a:ext cx="3716337" cy="501650"/>
            <a:chOff x="3094832" y="6326389"/>
            <a:chExt cx="3716337" cy="501650"/>
          </a:xfrm>
        </p:grpSpPr>
        <p:pic>
          <p:nvPicPr>
            <p:cNvPr id="9" name="Picture 230"/>
            <p:cNvPicPr>
              <a:picLocks noChangeAspect="1" noChangeArrowheads="1"/>
            </p:cNvPicPr>
            <p:nvPr userDrawn="1"/>
          </p:nvPicPr>
          <p:blipFill>
            <a:blip r:embed="rId10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4832" y="6326389"/>
              <a:ext cx="3716337" cy="501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" name="Picture 46" descr="https://d30y9cdsu7xlg0.cloudfront.net/png/4747-200.png"/>
            <p:cNvPicPr>
              <a:picLocks noChangeAspect="1" noChangeArrowheads="1"/>
            </p:cNvPicPr>
            <p:nvPr userDrawn="1"/>
          </p:nvPicPr>
          <p:blipFill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8062" y="6387349"/>
              <a:ext cx="317460" cy="3174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49280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035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3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3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842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3270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3954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35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0105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1932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47987885"/>
              </p:ext>
            </p:ext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96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18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10"/>
          <p:cNvSpPr txBox="1">
            <a:spLocks/>
          </p:cNvSpPr>
          <p:nvPr userDrawn="1"/>
        </p:nvSpPr>
        <p:spPr>
          <a:xfrm>
            <a:off x="9384634" y="6619287"/>
            <a:ext cx="457200" cy="202619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D7412C5-E6A2-4DA5-840B-684D8B8422F6}" type="slidenum">
              <a:rPr lang="en-US" smtClean="0">
                <a:solidFill>
                  <a:prstClr val="white"/>
                </a:solidFill>
                <a:latin typeface="Arial Black" panose="020B0A04020102020204" pitchFamily="34" charset="0"/>
              </a:rPr>
              <a:pPr algn="ctr"/>
              <a:t>‹#›</a:t>
            </a:fld>
            <a:endParaRPr lang="en-US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8444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jp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18" Type="http://schemas.openxmlformats.org/officeDocument/2006/relationships/diagramLayout" Target="../diagrams/layout3.xml"/><Relationship Id="rId26" Type="http://schemas.openxmlformats.org/officeDocument/2006/relationships/diagramColors" Target="../diagrams/colors4.xml"/><Relationship Id="rId3" Type="http://schemas.openxmlformats.org/officeDocument/2006/relationships/slideLayout" Target="../slideLayouts/slideLayout2.xml"/><Relationship Id="rId21" Type="http://schemas.microsoft.com/office/2007/relationships/diagramDrawing" Target="../diagrams/drawing3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17" Type="http://schemas.openxmlformats.org/officeDocument/2006/relationships/diagramData" Target="../diagrams/data3.xml"/><Relationship Id="rId25" Type="http://schemas.openxmlformats.org/officeDocument/2006/relationships/diagramQuickStyle" Target="../diagrams/quickStyle4.xml"/><Relationship Id="rId2" Type="http://schemas.openxmlformats.org/officeDocument/2006/relationships/tags" Target="../tags/tag5.xml"/><Relationship Id="rId16" Type="http://schemas.microsoft.com/office/2007/relationships/diagramDrawing" Target="../diagrams/drawing2.xml"/><Relationship Id="rId20" Type="http://schemas.openxmlformats.org/officeDocument/2006/relationships/diagramColors" Target="../diagrams/colors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11" Type="http://schemas.microsoft.com/office/2007/relationships/diagramDrawing" Target="../diagrams/drawing1.xml"/><Relationship Id="rId24" Type="http://schemas.openxmlformats.org/officeDocument/2006/relationships/diagramLayout" Target="../diagrams/layout4.xml"/><Relationship Id="rId5" Type="http://schemas.openxmlformats.org/officeDocument/2006/relationships/image" Target="../media/image8.emf"/><Relationship Id="rId15" Type="http://schemas.openxmlformats.org/officeDocument/2006/relationships/diagramColors" Target="../diagrams/colors2.xml"/><Relationship Id="rId23" Type="http://schemas.openxmlformats.org/officeDocument/2006/relationships/diagramData" Target="../diagrams/data4.xml"/><Relationship Id="rId10" Type="http://schemas.openxmlformats.org/officeDocument/2006/relationships/diagramColors" Target="../diagrams/colors1.xml"/><Relationship Id="rId19" Type="http://schemas.openxmlformats.org/officeDocument/2006/relationships/diagramQuickStyle" Target="../diagrams/quickStyle3.xml"/><Relationship Id="rId4" Type="http://schemas.openxmlformats.org/officeDocument/2006/relationships/oleObject" Target="../embeddings/oleObject4.bin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Relationship Id="rId22" Type="http://schemas.openxmlformats.org/officeDocument/2006/relationships/chart" Target="../charts/chart1.xml"/><Relationship Id="rId27" Type="http://schemas.microsoft.com/office/2007/relationships/diagramDrawing" Target="../diagrams/drawing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15.emf"/><Relationship Id="rId7" Type="http://schemas.openxmlformats.org/officeDocument/2006/relationships/diagramColors" Target="../diagrams/colors5.xml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10" Type="http://schemas.openxmlformats.org/officeDocument/2006/relationships/image" Target="../media/image17.jpeg"/><Relationship Id="rId4" Type="http://schemas.openxmlformats.org/officeDocument/2006/relationships/diagramData" Target="../diagrams/data5.xml"/><Relationship Id="rId9" Type="http://schemas.openxmlformats.org/officeDocument/2006/relationships/image" Target="../media/image16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image" Target="../media/image24.png"/><Relationship Id="rId7" Type="http://schemas.openxmlformats.org/officeDocument/2006/relationships/image" Target="../media/image28.jpeg"/><Relationship Id="rId12" Type="http://schemas.openxmlformats.org/officeDocument/2006/relationships/image" Target="../media/image32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jpeg"/><Relationship Id="rId11" Type="http://schemas.openxmlformats.org/officeDocument/2006/relationships/image" Target="../media/image14.emf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diagramLayout" Target="../diagrams/layout6.xml"/><Relationship Id="rId7" Type="http://schemas.openxmlformats.org/officeDocument/2006/relationships/image" Target="../media/image33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10" Type="http://schemas.openxmlformats.org/officeDocument/2006/relationships/image" Target="../media/image36.png"/><Relationship Id="rId4" Type="http://schemas.openxmlformats.org/officeDocument/2006/relationships/diagramQuickStyle" Target="../diagrams/quickStyle6.xml"/><Relationship Id="rId9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4.png"/><Relationship Id="rId7" Type="http://schemas.openxmlformats.org/officeDocument/2006/relationships/image" Target="../media/image40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11" Type="http://schemas.openxmlformats.org/officeDocument/2006/relationships/image" Target="../media/image43.png"/><Relationship Id="rId5" Type="http://schemas.openxmlformats.org/officeDocument/2006/relationships/image" Target="../media/image38.png"/><Relationship Id="rId10" Type="http://schemas.openxmlformats.org/officeDocument/2006/relationships/image" Target="../media/image42.png"/><Relationship Id="rId4" Type="http://schemas.openxmlformats.org/officeDocument/2006/relationships/image" Target="../media/image33.png"/><Relationship Id="rId9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image" Target="../media/image47.emf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image" Target="../media/image46.emf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80858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9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7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921552" cy="4033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reeform 24"/>
          <p:cNvSpPr>
            <a:spLocks noChangeAspect="1"/>
          </p:cNvSpPr>
          <p:nvPr/>
        </p:nvSpPr>
        <p:spPr bwMode="gray">
          <a:xfrm>
            <a:off x="0" y="4005064"/>
            <a:ext cx="5778500" cy="2083792"/>
          </a:xfrm>
          <a:custGeom>
            <a:avLst/>
            <a:gdLst>
              <a:gd name="T0" fmla="*/ 0 w 5170"/>
              <a:gd name="T1" fmla="*/ 0 h 3266"/>
              <a:gd name="T2" fmla="*/ 2147483647 w 5170"/>
              <a:gd name="T3" fmla="*/ 0 h 3266"/>
              <a:gd name="T4" fmla="*/ 2147483647 w 5170"/>
              <a:gd name="T5" fmla="*/ 2147483647 h 3266"/>
              <a:gd name="T6" fmla="*/ 0 w 5170"/>
              <a:gd name="T7" fmla="*/ 2147483647 h 3266"/>
              <a:gd name="T8" fmla="*/ 0 w 5170"/>
              <a:gd name="T9" fmla="*/ 0 h 326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170"/>
              <a:gd name="T16" fmla="*/ 0 h 3266"/>
              <a:gd name="T17" fmla="*/ 5170 w 5170"/>
              <a:gd name="T18" fmla="*/ 3266 h 326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170" h="3266">
                <a:moveTo>
                  <a:pt x="0" y="0"/>
                </a:moveTo>
                <a:lnTo>
                  <a:pt x="5170" y="0"/>
                </a:lnTo>
                <a:lnTo>
                  <a:pt x="4535" y="3266"/>
                </a:lnTo>
                <a:lnTo>
                  <a:pt x="0" y="3266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0195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Rechteck 12"/>
          <p:cNvSpPr/>
          <p:nvPr/>
        </p:nvSpPr>
        <p:spPr bwMode="gray">
          <a:xfrm>
            <a:off x="82550" y="4077662"/>
            <a:ext cx="4953000" cy="6858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8000" rIns="0" bIns="0"/>
          <a:lstStyle/>
          <a:p>
            <a:pPr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nselectrica SA</a:t>
            </a:r>
          </a:p>
        </p:txBody>
      </p:sp>
      <p:cxnSp>
        <p:nvCxnSpPr>
          <p:cNvPr id="5" name="Gerade Verbindung 16"/>
          <p:cNvCxnSpPr>
            <a:cxnSpLocks/>
          </p:cNvCxnSpPr>
          <p:nvPr/>
        </p:nvCxnSpPr>
        <p:spPr bwMode="gray">
          <a:xfrm>
            <a:off x="128464" y="5431471"/>
            <a:ext cx="4201294" cy="0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14"/>
          <p:cNvSpPr/>
          <p:nvPr/>
        </p:nvSpPr>
        <p:spPr bwMode="gray">
          <a:xfrm>
            <a:off x="82550" y="4699200"/>
            <a:ext cx="4870450" cy="75578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>
              <a:defRPr/>
            </a:pPr>
            <a:r>
              <a:rPr lang="ro-RO" sz="1400" dirty="0">
                <a:solidFill>
                  <a:srgbClr val="FFFF99"/>
                </a:solidFill>
              </a:rPr>
              <a:t>Operatorul de Transport și Sistem al Sistemului Electroenergetic Național al României</a:t>
            </a:r>
            <a:endParaRPr lang="en-US" sz="1400" b="1" dirty="0">
              <a:solidFill>
                <a:srgbClr val="FFFF99"/>
              </a:solidFill>
            </a:endParaRPr>
          </a:p>
        </p:txBody>
      </p:sp>
      <p:cxnSp>
        <p:nvCxnSpPr>
          <p:cNvPr id="7" name="Gerade Verbindung 21"/>
          <p:cNvCxnSpPr>
            <a:cxnSpLocks/>
          </p:cNvCxnSpPr>
          <p:nvPr/>
        </p:nvCxnSpPr>
        <p:spPr bwMode="gray">
          <a:xfrm>
            <a:off x="111051" y="4699200"/>
            <a:ext cx="4201294" cy="0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14"/>
          <p:cNvSpPr/>
          <p:nvPr/>
        </p:nvSpPr>
        <p:spPr bwMode="gray">
          <a:xfrm>
            <a:off x="165100" y="5413498"/>
            <a:ext cx="4870450" cy="39846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>
              <a:defRPr/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e lead the powe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181600" y="410834"/>
            <a:ext cx="4724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re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eneral</a:t>
            </a:r>
            <a:r>
              <a:rPr lang="ro-RO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ă</a:t>
            </a:r>
            <a:endParaRPr lang="en-US" sz="24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9950" name="Picture 1774" descr="C:\Users\livia.radulescu\Desktop\prezentare generala TEL\483954197_1215706610564575_3156574822732026486_n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0346" y="4062183"/>
            <a:ext cx="2011680" cy="2011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956" name="Picture 1780" descr="C:\Users\livia.radulescu\Desktop\prezentare generala TEL\70 ani 202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5288" y="4231352"/>
            <a:ext cx="2312779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5447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-5049"/>
            <a:ext cx="9944100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2700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/>
          <p:cNvSpPr txBox="1">
            <a:spLocks noChangeArrowheads="1"/>
          </p:cNvSpPr>
          <p:nvPr/>
        </p:nvSpPr>
        <p:spPr bwMode="auto">
          <a:xfrm>
            <a:off x="749300" y="990600"/>
            <a:ext cx="9461500" cy="3200876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Aft>
                <a:spcPts val="600"/>
              </a:spcAft>
              <a:defRPr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TRANSELECTRICA S.A.</a:t>
            </a:r>
            <a:endParaRPr lang="ro-RO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spcAft>
                <a:spcPts val="600"/>
              </a:spcAft>
              <a:defRPr/>
            </a:pP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defRPr/>
            </a:pP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Web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: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o-RO" sz="1600" dirty="0">
                <a:solidFill>
                  <a:schemeClr val="accent1">
                    <a:lumMod val="50000"/>
                  </a:schemeClr>
                </a:solidFill>
              </a:rPr>
              <a:t>		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en-US" sz="1600" b="1" u="sng" dirty="0">
                <a:solidFill>
                  <a:schemeClr val="accent1">
                    <a:lumMod val="50000"/>
                  </a:schemeClr>
                </a:solidFill>
              </a:rPr>
              <a:t>www.transelectrica.ro</a:t>
            </a:r>
          </a:p>
          <a:p>
            <a:pPr marL="285750" indent="-285750" algn="just" eaLnBrk="1" hangingPunct="1">
              <a:defRPr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tock: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o-RO" sz="1600" dirty="0">
                <a:solidFill>
                  <a:schemeClr val="accent1">
                    <a:lumMod val="50000"/>
                  </a:schemeClr>
                </a:solidFill>
              </a:rPr>
              <a:t>		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	ISIN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ROTSELACNOR9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. Bloomberg 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</a:rPr>
              <a:t>TEL:RO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. 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defRPr/>
            </a:pP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defRPr/>
            </a:pPr>
            <a:endParaRPr lang="ro-RO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defRPr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Post: 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		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Olteni 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2-4. 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Buc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</a:rPr>
              <a:t>harest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3. Romania</a:t>
            </a:r>
          </a:p>
          <a:p>
            <a:pPr marL="285750" indent="-285750" algn="just" eaLnBrk="1" hangingPunct="1">
              <a:defRPr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E-mail: 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		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relatii.investitori@transelectrica.ro 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defRPr/>
            </a:pP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Tel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: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		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	+40 213035611</a:t>
            </a:r>
          </a:p>
          <a:p>
            <a:pPr marL="285750" indent="-285750" algn="just" eaLnBrk="1" hangingPunct="1">
              <a:defRPr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Fax: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		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	+40 213035610</a:t>
            </a:r>
          </a:p>
          <a:p>
            <a:pPr marL="285750" indent="-285750" algn="just" eaLnBrk="1" hangingPunct="1">
              <a:defRPr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 </a:t>
            </a:r>
            <a:endParaRPr lang="ro-RO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spcAft>
                <a:spcPts val="600"/>
              </a:spcAft>
              <a:defRPr/>
            </a:pP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Text Box 9"/>
          <p:cNvSpPr txBox="1">
            <a:spLocks noChangeArrowheads="1"/>
          </p:cNvSpPr>
          <p:nvPr/>
        </p:nvSpPr>
        <p:spPr bwMode="auto">
          <a:xfrm>
            <a:off x="1905000" y="115888"/>
            <a:ext cx="8001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o-RO" altLang="ro-RO" sz="2600" b="1" dirty="0">
                <a:solidFill>
                  <a:srgbClr val="24297A"/>
                </a:solidFill>
              </a:rPr>
              <a:t>CONTACT</a:t>
            </a:r>
            <a:endParaRPr lang="en-US" altLang="ro-RO" sz="2600" b="1" dirty="0">
              <a:solidFill>
                <a:srgbClr val="24297A"/>
              </a:solidFill>
            </a:endParaRPr>
          </a:p>
        </p:txBody>
      </p:sp>
      <p:pic>
        <p:nvPicPr>
          <p:cNvPr id="413698" name="Picture 2" descr="http://www.piran.com.au/static/images/icon-webapp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81000" y="1676400"/>
            <a:ext cx="304800" cy="304800"/>
          </a:xfrm>
          <a:prstGeom prst="rect">
            <a:avLst/>
          </a:prstGeom>
          <a:noFill/>
        </p:spPr>
      </p:pic>
      <p:pic>
        <p:nvPicPr>
          <p:cNvPr id="413700" name="Picture 4" descr="http://www.joymurrin.com.au/wordpress/wp-content/uploads/email_mail_post_letter_stamp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81000" y="2638425"/>
            <a:ext cx="304800" cy="304800"/>
          </a:xfrm>
          <a:prstGeom prst="rect">
            <a:avLst/>
          </a:prstGeom>
          <a:noFill/>
        </p:spPr>
      </p:pic>
      <p:pic>
        <p:nvPicPr>
          <p:cNvPr id="413704" name="Picture 8" descr="http://www.clipartbest.com/cliparts/yTk/8E5/yTk8E5bTE.jpe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81000" y="3136900"/>
            <a:ext cx="295275" cy="295275"/>
          </a:xfrm>
          <a:prstGeom prst="rect">
            <a:avLst/>
          </a:prstGeom>
          <a:noFill/>
        </p:spPr>
      </p:pic>
      <p:pic>
        <p:nvPicPr>
          <p:cNvPr id="413710" name="Picture 14" descr="https://image.freepik.com/free-icon/printer-scanner-fax_318-29881.jp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09575" y="3409950"/>
            <a:ext cx="247650" cy="247650"/>
          </a:xfrm>
          <a:prstGeom prst="rect">
            <a:avLst/>
          </a:prstGeom>
          <a:noFill/>
        </p:spPr>
      </p:pic>
      <p:pic>
        <p:nvPicPr>
          <p:cNvPr id="413712" name="Picture 16" descr="http://www.hotelisabella.it/images/email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71475" y="2876550"/>
            <a:ext cx="304800" cy="304800"/>
          </a:xfrm>
          <a:prstGeom prst="rect">
            <a:avLst/>
          </a:prstGeom>
          <a:noFill/>
        </p:spPr>
      </p:pic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7620" y="115888"/>
            <a:ext cx="2964180" cy="492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o-RO" altLang="ro-RO" sz="26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A</a:t>
            </a:r>
            <a:r>
              <a:rPr lang="en-US" altLang="ro-RO" sz="2600" b="1" dirty="0" err="1">
                <a:solidFill>
                  <a:schemeClr val="accent1">
                    <a:lumMod val="40000"/>
                    <a:lumOff val="60000"/>
                  </a:schemeClr>
                </a:solidFill>
              </a:rPr>
              <a:t>nnex</a:t>
            </a:r>
            <a:endParaRPr lang="en-US" altLang="ro-RO" sz="2600" b="1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992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620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590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762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0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073" y="1700808"/>
            <a:ext cx="6926263" cy="292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570621131"/>
              </p:ext>
            </p:extLst>
          </p:nvPr>
        </p:nvGraphicFramePr>
        <p:xfrm>
          <a:off x="152400" y="836712"/>
          <a:ext cx="2856384" cy="1693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9" name="Text Box 9"/>
          <p:cNvSpPr txBox="1">
            <a:spLocks noChangeArrowheads="1"/>
          </p:cNvSpPr>
          <p:nvPr/>
        </p:nvSpPr>
        <p:spPr bwMode="auto">
          <a:xfrm>
            <a:off x="5862653" y="115890"/>
            <a:ext cx="398619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ro-RO" sz="2600" b="1" smtClean="0">
                <a:solidFill>
                  <a:srgbClr val="24297A"/>
                </a:solidFill>
              </a:rPr>
              <a:t>Transelectrica</a:t>
            </a:r>
            <a:endParaRPr lang="en-US" altLang="ro-RO" sz="2600" b="1" dirty="0">
              <a:solidFill>
                <a:srgbClr val="24297A"/>
              </a:solidFill>
            </a:endParaRPr>
          </a:p>
        </p:txBody>
      </p:sp>
      <p:sp>
        <p:nvSpPr>
          <p:cNvPr id="20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o-RO" altLang="ro-RO" sz="2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Pre</a:t>
            </a:r>
            <a:r>
              <a:rPr lang="en-US" altLang="ro-RO" sz="2600" b="1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zentare</a:t>
            </a:r>
            <a:r>
              <a:rPr lang="en-US" altLang="ro-RO" sz="2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General</a:t>
            </a:r>
            <a:r>
              <a:rPr lang="ro-RO" altLang="ro-RO" sz="2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ă</a:t>
            </a:r>
            <a:endParaRPr lang="en-US" altLang="ro-RO" sz="2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3142201980"/>
              </p:ext>
            </p:extLst>
          </p:nvPr>
        </p:nvGraphicFramePr>
        <p:xfrm>
          <a:off x="6915472" y="836712"/>
          <a:ext cx="2718048" cy="1693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27" name="Diagram 26"/>
          <p:cNvGraphicFramePr/>
          <p:nvPr>
            <p:extLst>
              <p:ext uri="{D42A27DB-BD31-4B8C-83A1-F6EECF244321}">
                <p14:modId xmlns:p14="http://schemas.microsoft.com/office/powerpoint/2010/main" val="3921702627"/>
              </p:ext>
            </p:extLst>
          </p:nvPr>
        </p:nvGraphicFramePr>
        <p:xfrm>
          <a:off x="6969224" y="3968145"/>
          <a:ext cx="2718048" cy="1693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3698932071"/>
              </p:ext>
            </p:extLst>
          </p:nvPr>
        </p:nvGraphicFramePr>
        <p:xfrm>
          <a:off x="3656856" y="4071099"/>
          <a:ext cx="2692400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300340" y="5191100"/>
            <a:ext cx="120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20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l</a:t>
            </a:r>
          </a:p>
          <a:p>
            <a:r>
              <a:rPr lang="ro-RO" sz="120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mân</a:t>
            </a:r>
            <a:endParaRPr lang="en-US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105434" y="5203800"/>
            <a:ext cx="120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</a:t>
            </a:r>
          </a:p>
          <a:p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at</a:t>
            </a:r>
            <a:endParaRPr lang="en-US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2968849574"/>
              </p:ext>
            </p:extLst>
          </p:nvPr>
        </p:nvGraphicFramePr>
        <p:xfrm>
          <a:off x="209600" y="3968145"/>
          <a:ext cx="2856384" cy="1693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sp>
        <p:nvSpPr>
          <p:cNvPr id="15" name="Rounded Rectangle 14"/>
          <p:cNvSpPr/>
          <p:nvPr/>
        </p:nvSpPr>
        <p:spPr>
          <a:xfrm>
            <a:off x="6993217" y="5618575"/>
            <a:ext cx="2208255" cy="216024"/>
          </a:xfrm>
          <a:prstGeom prst="roundRect">
            <a:avLst>
              <a:gd name="adj" fmla="val 11339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0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o-RO" sz="10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a de recuperare a investiţiei</a:t>
            </a:r>
            <a:endParaRPr lang="en-US" sz="10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2907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721428" y="4084674"/>
            <a:ext cx="3696068" cy="1169551"/>
          </a:xfrm>
          <a:prstGeom prst="rect">
            <a:avLst/>
          </a:prstGeom>
          <a:solidFill>
            <a:srgbClr val="1B3277"/>
          </a:solidFill>
        </p:spPr>
        <p:txBody>
          <a:bodyPr wrap="square">
            <a:spAutoFit/>
          </a:bodyPr>
          <a:lstStyle/>
          <a:p>
            <a:pPr marL="231775">
              <a:spcBef>
                <a:spcPct val="0"/>
              </a:spcBef>
            </a:pP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  <a:r>
              <a:rPr lang="ro-RO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 diferite regiuni europene de gestionare a congestiilor</a:t>
            </a: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en-US" altLang="ro-RO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spcBef>
                <a:spcPct val="0"/>
              </a:spcBef>
              <a:buFontTx/>
              <a:buChar char="-"/>
            </a:pP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a Central</a:t>
            </a:r>
            <a:r>
              <a:rPr lang="ro-RO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ă</a:t>
            </a:r>
            <a:endParaRPr lang="en-US" altLang="ro-RO" sz="1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spcBef>
                <a:spcPct val="0"/>
              </a:spcBef>
              <a:buFontTx/>
              <a:buChar char="-"/>
            </a:pP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o-RO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d</a:t>
            </a: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Est</a:t>
            </a:r>
            <a:endParaRPr lang="ro-RO" altLang="ro-RO" sz="1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spcBef>
                <a:spcPct val="0"/>
              </a:spcBef>
              <a:buFontTx/>
              <a:buChar char="-"/>
            </a:pPr>
            <a:r>
              <a:rPr 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a de Est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34"/>
          <p:cNvSpPr>
            <a:spLocks noChangeArrowheads="1"/>
          </p:cNvSpPr>
          <p:nvPr/>
        </p:nvSpPr>
        <p:spPr bwMode="gray">
          <a:xfrm>
            <a:off x="5488792" y="4868837"/>
            <a:ext cx="360362" cy="36036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 algn="ctr">
            <a:solidFill>
              <a:srgbClr val="FFD200"/>
            </a:solidFill>
            <a:round/>
            <a:headEnd/>
            <a:tailEnd/>
          </a:ln>
        </p:spPr>
        <p:txBody>
          <a:bodyPr wrap="none" lIns="78885" tIns="41020" rIns="78885" bIns="41020" anchor="ctr"/>
          <a:lstStyle/>
          <a:p>
            <a:pPr algn="ctr" defTabSz="873125">
              <a:buClr>
                <a:schemeClr val="hlink"/>
              </a:buClr>
              <a:buSzPct val="75000"/>
              <a:buFont typeface="Arial" pitchFamily="34" charset="0"/>
              <a:buNone/>
            </a:pPr>
            <a:r>
              <a:rPr lang="en-US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i</a:t>
            </a:r>
            <a:endParaRPr lang="en-US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40662" y="2780928"/>
            <a:ext cx="3676834" cy="954107"/>
          </a:xfrm>
          <a:prstGeom prst="rect">
            <a:avLst/>
          </a:prstGeom>
          <a:solidFill>
            <a:srgbClr val="1B3277"/>
          </a:solidFill>
        </p:spPr>
        <p:txBody>
          <a:bodyPr wrap="square">
            <a:spAutoFit/>
          </a:bodyPr>
          <a:lstStyle/>
          <a:p>
            <a:pPr marL="231775">
              <a:spcBef>
                <a:spcPct val="0"/>
              </a:spcBef>
            </a:pP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  <a:r>
              <a:rPr lang="ro-RO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 ţari</a:t>
            </a: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E</a:t>
            </a: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-</a:t>
            </a:r>
            <a:r>
              <a:rPr lang="ro-RO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E</a:t>
            </a: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31775">
              <a:spcBef>
                <a:spcPct val="0"/>
              </a:spcBef>
            </a:pP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o-RO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islaţia UE nu este obligatorie pentru toate ţarile din regiune</a:t>
            </a: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altLang="ro-RO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1775">
              <a:spcBef>
                <a:spcPct val="0"/>
              </a:spcBef>
            </a:pP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val 34"/>
          <p:cNvSpPr>
            <a:spLocks noChangeArrowheads="1"/>
          </p:cNvSpPr>
          <p:nvPr/>
        </p:nvSpPr>
        <p:spPr bwMode="gray">
          <a:xfrm>
            <a:off x="5560481" y="3565301"/>
            <a:ext cx="360362" cy="36036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 algn="ctr">
            <a:solidFill>
              <a:srgbClr val="FFD200"/>
            </a:solidFill>
            <a:round/>
            <a:headEnd/>
            <a:tailEnd/>
          </a:ln>
        </p:spPr>
        <p:txBody>
          <a:bodyPr wrap="none" lIns="78885" tIns="41020" rIns="78885" bIns="41020" anchor="ctr"/>
          <a:lstStyle/>
          <a:p>
            <a:pPr algn="ctr" defTabSz="873125">
              <a:buClr>
                <a:schemeClr val="hlink"/>
              </a:buClr>
              <a:buSzPct val="75000"/>
              <a:buFont typeface="Arial" pitchFamily="34" charset="0"/>
              <a:buNone/>
            </a:pPr>
            <a:r>
              <a:rPr lang="en-US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</a:t>
            </a:r>
            <a:endParaRPr lang="en-US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o-RO" altLang="ro-RO" sz="2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C</a:t>
            </a:r>
            <a:r>
              <a:rPr lang="en-US" altLang="ro-RO" sz="2600" b="1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ontext</a:t>
            </a:r>
            <a:r>
              <a:rPr lang="ro-RO" altLang="ro-RO" sz="2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European</a:t>
            </a:r>
            <a:endParaRPr lang="en-US" altLang="ro-RO" sz="2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1876456" y="115890"/>
            <a:ext cx="797239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 smtClean="0">
                <a:solidFill>
                  <a:srgbClr val="24297A"/>
                </a:solidFill>
              </a:rPr>
              <a:t>Rom</a:t>
            </a:r>
            <a:r>
              <a:rPr lang="ro-RO" altLang="ro-RO" sz="2600" b="1" dirty="0" smtClean="0">
                <a:solidFill>
                  <a:srgbClr val="24297A"/>
                </a:solidFill>
              </a:rPr>
              <a:t>â</a:t>
            </a:r>
            <a:r>
              <a:rPr lang="en-US" altLang="ro-RO" sz="2600" b="1" dirty="0" err="1" smtClean="0">
                <a:solidFill>
                  <a:srgbClr val="24297A"/>
                </a:solidFill>
              </a:rPr>
              <a:t>nia</a:t>
            </a:r>
            <a:r>
              <a:rPr lang="ro-RO" altLang="ro-RO" sz="2600" b="1" dirty="0" smtClean="0">
                <a:solidFill>
                  <a:srgbClr val="24297A"/>
                </a:solidFill>
              </a:rPr>
              <a:t> la intersecţia...</a:t>
            </a:r>
            <a:endParaRPr lang="en-US" altLang="ro-RO" sz="2600" b="1" dirty="0">
              <a:solidFill>
                <a:srgbClr val="24297A"/>
              </a:solidFill>
            </a:endParaRPr>
          </a:p>
        </p:txBody>
      </p:sp>
      <p:pic>
        <p:nvPicPr>
          <p:cNvPr id="305154" name="Picture 2" descr="C:\Users\livia.radulescu\Desktop\prezentare generala TEL\Untitle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576" y="908720"/>
            <a:ext cx="5120640" cy="5076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0517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0792" y="815504"/>
            <a:ext cx="6048672" cy="2316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o-RO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P</a:t>
            </a:r>
            <a:r>
              <a:rPr lang="en-US" altLang="ro-RO" sz="2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re</a:t>
            </a:r>
            <a:r>
              <a:rPr lang="ro-RO" altLang="ro-RO" sz="2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zentare Generală</a:t>
            </a:r>
            <a:endParaRPr lang="en-US" altLang="ro-RO" sz="2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" name="Text Box 9"/>
          <p:cNvSpPr txBox="1">
            <a:spLocks noChangeArrowheads="1"/>
          </p:cNvSpPr>
          <p:nvPr/>
        </p:nvSpPr>
        <p:spPr bwMode="auto">
          <a:xfrm>
            <a:off x="1876456" y="115890"/>
            <a:ext cx="797239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o-RO" altLang="ro-RO" sz="2600" b="1" smtClean="0">
                <a:solidFill>
                  <a:srgbClr val="24297A"/>
                </a:solidFill>
              </a:rPr>
              <a:t>Activitate Operațională</a:t>
            </a:r>
            <a:endParaRPr lang="en-US" altLang="ro-RO" sz="2600" b="1" dirty="0">
              <a:solidFill>
                <a:srgbClr val="24297A"/>
              </a:solidFill>
            </a:endParaRP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3728864" y="3510787"/>
            <a:ext cx="5556307" cy="2006445"/>
            <a:chOff x="4876800" y="2080648"/>
            <a:chExt cx="1828800" cy="609600"/>
          </a:xfrm>
        </p:grpSpPr>
        <p:pic>
          <p:nvPicPr>
            <p:cNvPr id="21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7192"/>
            <a:stretch/>
          </p:blipFill>
          <p:spPr bwMode="auto">
            <a:xfrm>
              <a:off x="4876800" y="2149098"/>
              <a:ext cx="1828800" cy="4419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2" name="Oval 21"/>
            <p:cNvSpPr/>
            <p:nvPr/>
          </p:nvSpPr>
          <p:spPr>
            <a:xfrm>
              <a:off x="5433447" y="2080648"/>
              <a:ext cx="609600" cy="609600"/>
            </a:xfrm>
            <a:prstGeom prst="ellipse">
              <a:avLst/>
            </a:prstGeom>
            <a:noFill/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aphicFrame>
        <p:nvGraphicFramePr>
          <p:cNvPr id="23" name="Diagram 22"/>
          <p:cNvGraphicFramePr/>
          <p:nvPr>
            <p:extLst>
              <p:ext uri="{D42A27DB-BD31-4B8C-83A1-F6EECF244321}">
                <p14:modId xmlns:p14="http://schemas.microsoft.com/office/powerpoint/2010/main" val="3921268735"/>
              </p:ext>
            </p:extLst>
          </p:nvPr>
        </p:nvGraphicFramePr>
        <p:xfrm>
          <a:off x="3728864" y="5539111"/>
          <a:ext cx="6119986" cy="4464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5" name="Picture 2" descr="Imagini pentru zoom in icon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376" y="3273625"/>
            <a:ext cx="1148851" cy="1148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urved Left Arrow 7"/>
          <p:cNvSpPr/>
          <p:nvPr/>
        </p:nvSpPr>
        <p:spPr>
          <a:xfrm>
            <a:off x="9129463" y="1999204"/>
            <a:ext cx="719387" cy="1645820"/>
          </a:xfrm>
          <a:prstGeom prst="curvedLef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6456" y="4092446"/>
            <a:ext cx="316835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 ocupăm de</a:t>
            </a:r>
            <a:endParaRPr lang="en-US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 </a:t>
            </a:r>
            <a:r>
              <a:rPr lang="ro-RO" sz="12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me mari de energie electrică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2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m</a:t>
            </a:r>
            <a:r>
              <a:rPr lang="ro-RO" sz="12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â</a:t>
            </a:r>
            <a:r>
              <a:rPr lang="en-US" sz="12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a</a:t>
            </a:r>
            <a:endParaRPr lang="en-US" sz="12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o-RO" sz="12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or al interconexiunilor României cu ţarile vecine</a:t>
            </a:r>
            <a:endParaRPr lang="en-US" sz="12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o-RO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 ne ocupăm de</a:t>
            </a:r>
            <a:endParaRPr lang="en-US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o-RO" sz="12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erea de energie electrică</a:t>
            </a:r>
            <a:endParaRPr lang="en-US" sz="12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o-RO" sz="12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nizare/trading cu energie electrică</a:t>
            </a:r>
            <a:endParaRPr lang="en-US" sz="12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o-RO" sz="12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ţia energiei electrice până la utilizatorii finali</a:t>
            </a:r>
            <a:endParaRPr lang="en-US" sz="12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660380" y="4936976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12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opol</a:t>
            </a:r>
            <a:endParaRPr lang="en-US" sz="12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o-RO" sz="12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ementat</a:t>
            </a:r>
            <a:endParaRPr lang="en-US" sz="12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96" y="815504"/>
            <a:ext cx="2267717" cy="323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9788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922220"/>
              </p:ext>
            </p:extLst>
          </p:nvPr>
        </p:nvGraphicFramePr>
        <p:xfrm>
          <a:off x="2792760" y="1168396"/>
          <a:ext cx="7649742" cy="18569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558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4023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2070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13298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928456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5</a:t>
                      </a:r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o-RO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l. 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i</a:t>
                      </a:r>
                      <a:endParaRPr lang="en-US" sz="12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BITDA</a:t>
                      </a:r>
                    </a:p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L</a:t>
                      </a:r>
                      <a:r>
                        <a:rPr lang="en-US" sz="1200" b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25</a:t>
                      </a:r>
                      <a:endParaRPr lang="en-US" sz="12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3</a:t>
                      </a:r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o-RO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l. 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i</a:t>
                      </a:r>
                      <a:endParaRPr lang="en-US" sz="12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fit net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L</a:t>
                      </a:r>
                      <a:r>
                        <a:rPr lang="en-US" sz="1050" b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25</a:t>
                      </a:r>
                      <a:endParaRPr lang="en-US" sz="1050" b="1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2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28456">
                <a:tc>
                  <a:txBody>
                    <a:bodyPr/>
                    <a:lstStyle/>
                    <a:p>
                      <a:endParaRPr lang="en-US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o-RO" sz="18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486</a:t>
                      </a:r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o-RO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l. 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i</a:t>
                      </a:r>
                      <a:endParaRPr lang="en-US" sz="12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200" b="1" dirty="0" err="1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oarea</a:t>
                      </a:r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 pia</a:t>
                      </a:r>
                      <a:r>
                        <a:rPr lang="ro-RO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ţă</a:t>
                      </a:r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o-RO" sz="1200" b="1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o-RO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Septembrie 2025</a:t>
                      </a:r>
                      <a:endParaRPr lang="en-US" sz="1200" b="1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r>
                        <a:rPr lang="ro-RO" sz="2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en-US" sz="2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3</a:t>
                      </a:r>
                      <a:r>
                        <a:rPr lang="en-US" sz="16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o-RO" sz="16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o-RO" sz="16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od</a:t>
                      </a:r>
                      <a:r>
                        <a:rPr lang="en-US" sz="16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’s </a:t>
                      </a:r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200" dirty="0" err="1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spectiv</a:t>
                      </a:r>
                      <a:r>
                        <a:rPr lang="ro-RO" sz="12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ă</a:t>
                      </a:r>
                      <a:r>
                        <a:rPr lang="ro-RO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bil</a:t>
                      </a:r>
                      <a:r>
                        <a:rPr lang="ro-RO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ă</a:t>
                      </a:r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  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3082984" y="1988840"/>
            <a:ext cx="6766560" cy="0"/>
          </a:xfrm>
          <a:prstGeom prst="line">
            <a:avLst/>
          </a:prstGeom>
          <a:ln w="47625">
            <a:solidFill>
              <a:srgbClr val="ECF1F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4" r="27607"/>
          <a:stretch/>
        </p:blipFill>
        <p:spPr bwMode="auto">
          <a:xfrm>
            <a:off x="84173" y="3689284"/>
            <a:ext cx="2443601" cy="1776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ro-RO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P</a:t>
            </a:r>
            <a:r>
              <a:rPr lang="en-US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re</a:t>
            </a:r>
            <a:r>
              <a:rPr lang="ro-RO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zentare Generală</a:t>
            </a:r>
            <a:endParaRPr lang="en-US" altLang="ro-RO" sz="2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ro-RO" sz="2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" name="Text Box 9"/>
          <p:cNvSpPr txBox="1">
            <a:spLocks noChangeArrowheads="1"/>
          </p:cNvSpPr>
          <p:nvPr/>
        </p:nvSpPr>
        <p:spPr bwMode="auto">
          <a:xfrm>
            <a:off x="1876456" y="115890"/>
            <a:ext cx="797239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o-RO" altLang="ro-RO" sz="2600" b="1" dirty="0" smtClean="0">
                <a:solidFill>
                  <a:srgbClr val="24297A"/>
                </a:solidFill>
              </a:rPr>
              <a:t>Cifre cheie</a:t>
            </a:r>
            <a:endParaRPr lang="en-US" altLang="ro-RO" sz="2600" b="1" dirty="0">
              <a:solidFill>
                <a:srgbClr val="24297A"/>
              </a:solidFill>
            </a:endParaRPr>
          </a:p>
        </p:txBody>
      </p:sp>
      <p:pic>
        <p:nvPicPr>
          <p:cNvPr id="19" name="Picture 18" descr="Y:\Rapoarte 2024\Surse T3\poze\461825843_1081073370694567_1619935150194115333_n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16" y="830013"/>
            <a:ext cx="2926080" cy="2355215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Picture 21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519" y="3498240"/>
            <a:ext cx="6417310" cy="2465705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8" descr="http://www.successioncenter.com/assets/icons/128x128/coins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4345" y="1196752"/>
            <a:ext cx="504055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Imagini pentru financial rating icon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3257" y="2204864"/>
            <a:ext cx="504055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8" descr="http://www.successioncenter.com/assets/icons/128x128/coins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864" y="1196752"/>
            <a:ext cx="504055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Imagini pentru financial rating icon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863" y="2204864"/>
            <a:ext cx="504055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512840" y="3440033"/>
            <a:ext cx="792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200" i="1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ro-RO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il lei</a:t>
            </a:r>
            <a:endParaRPr lang="ro-RO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632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7"/>
          <p:cNvSpPr/>
          <p:nvPr/>
        </p:nvSpPr>
        <p:spPr bwMode="ltGray">
          <a:xfrm>
            <a:off x="353378" y="3211667"/>
            <a:ext cx="2872140" cy="1763409"/>
          </a:xfrm>
          <a:prstGeom prst="roundRect">
            <a:avLst>
              <a:gd name="adj" fmla="val 3815"/>
            </a:avLst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4BACC6"/>
              </a:buClr>
            </a:pPr>
            <a:r>
              <a:rPr lang="ro-RO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ro-RO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</a:t>
            </a:r>
            <a:endParaRPr lang="ro-RO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treţinerea, operarea şi modernizarea reţelei naţionale de înaltă tensiune</a:t>
            </a:r>
            <a:endParaRPr lang="ro-RO" sz="11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rea interconexiunilor transfrontaliere</a:t>
            </a: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ă de disponibilitate ridicată (întrerupere scazută)</a:t>
            </a: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ro-RO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 nediscriminatoriu la reţea pentru toţi utilizatorii</a:t>
            </a:r>
            <a:endParaRPr lang="ro-RO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7" descr="http://www.microplanet.com/content/2011/08/Electric-lines.jpg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454"/>
          <a:stretch/>
        </p:blipFill>
        <p:spPr bwMode="auto">
          <a:xfrm>
            <a:off x="8001000" y="5094393"/>
            <a:ext cx="1828800" cy="952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ounded Rectangle 17"/>
          <p:cNvSpPr/>
          <p:nvPr/>
        </p:nvSpPr>
        <p:spPr bwMode="ltGray">
          <a:xfrm>
            <a:off x="3599688" y="3314308"/>
            <a:ext cx="2872140" cy="1660768"/>
          </a:xfrm>
          <a:prstGeom prst="roundRect">
            <a:avLst>
              <a:gd name="adj" fmla="val 3815"/>
            </a:avLst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ts val="600"/>
              </a:spcBef>
              <a:spcAft>
                <a:spcPts val="600"/>
              </a:spcAft>
              <a:buClr>
                <a:srgbClr val="4BACC6"/>
              </a:buClr>
            </a:pPr>
            <a:r>
              <a:rPr lang="ro-RO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o-RO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rea sistemului energetic</a:t>
            </a:r>
            <a:endParaRPr lang="ro-RO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torizare şi control în timp real a întregului sistem electroenergetic naţional</a:t>
            </a:r>
            <a:endParaRPr lang="ro-RO" sz="11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igurarea în timp real a echilibrului de reţea, armonizarea între generare şi consum</a:t>
            </a:r>
            <a:endParaRPr lang="ro-RO" sz="11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cularea rezervelor pentru echilibrare</a:t>
            </a:r>
            <a:endParaRPr lang="ro-RO" sz="11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upare 1"/>
          <p:cNvGrpSpPr>
            <a:grpSpLocks noChangeAspect="1"/>
          </p:cNvGrpSpPr>
          <p:nvPr/>
        </p:nvGrpSpPr>
        <p:grpSpPr>
          <a:xfrm>
            <a:off x="76200" y="3205432"/>
            <a:ext cx="512269" cy="487680"/>
            <a:chOff x="7658290" y="3352800"/>
            <a:chExt cx="762000" cy="725424"/>
          </a:xfrm>
        </p:grpSpPr>
        <p:sp>
          <p:nvSpPr>
            <p:cNvPr id="6" name="Oval 5"/>
            <p:cNvSpPr/>
            <p:nvPr/>
          </p:nvSpPr>
          <p:spPr>
            <a:xfrm>
              <a:off x="7658290" y="3352800"/>
              <a:ext cx="762000" cy="7254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 descr="https://cdn4.iconfinder.com/data/icons/unigrid-buildings/62/008_electricity_power_generation_tower_station_lines-512.png"/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24134" y="3413760"/>
              <a:ext cx="424053" cy="585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upare 9"/>
          <p:cNvGrpSpPr>
            <a:grpSpLocks noChangeAspect="1"/>
          </p:cNvGrpSpPr>
          <p:nvPr/>
        </p:nvGrpSpPr>
        <p:grpSpPr>
          <a:xfrm>
            <a:off x="3294888" y="3205432"/>
            <a:ext cx="512269" cy="487680"/>
            <a:chOff x="7543990" y="2234184"/>
            <a:chExt cx="762000" cy="725424"/>
          </a:xfrm>
        </p:grpSpPr>
        <p:sp>
          <p:nvSpPr>
            <p:cNvPr id="9" name="Oval 8"/>
            <p:cNvSpPr/>
            <p:nvPr/>
          </p:nvSpPr>
          <p:spPr>
            <a:xfrm>
              <a:off x="7543990" y="2234184"/>
              <a:ext cx="762000" cy="7254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6" descr="https://cdn0.iconfinder.com/data/icons/simple-seo-and-internet-icons/512/market_monitoring-512.png"/>
            <p:cNvPicPr>
              <a:picLocks noChangeAspect="1" noChangeArrowheads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8290" y="2301240"/>
              <a:ext cx="536448" cy="609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" name="Rounded Rectangle 17"/>
          <p:cNvSpPr/>
          <p:nvPr/>
        </p:nvSpPr>
        <p:spPr bwMode="ltGray">
          <a:xfrm>
            <a:off x="6802212" y="3311828"/>
            <a:ext cx="2872140" cy="1663248"/>
          </a:xfrm>
          <a:prstGeom prst="roundRect">
            <a:avLst>
              <a:gd name="adj" fmla="val 3815"/>
            </a:avLst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4BACC6"/>
              </a:buClr>
            </a:pPr>
            <a:r>
              <a:rPr lang="ro-RO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ro-RO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aţă de echilibrare</a:t>
            </a:r>
            <a:endParaRPr lang="ro-RO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ul de decontare a de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</a:t>
            </a: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hilibrelor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m</a:t>
            </a: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ăsurarea și decontarea financiară a dezechilibrelor reţelei cauzate de diferenţe temporare generare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OT</a:t>
            </a: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</a:t>
            </a: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ţi</a:t>
            </a:r>
            <a:r>
              <a:rPr lang="en-US" sz="11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az</a:t>
            </a: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ă ca agent de compensare pentru întreaga piaţă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o-RO" sz="11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upare 10"/>
          <p:cNvGrpSpPr>
            <a:grpSpLocks noChangeAspect="1"/>
          </p:cNvGrpSpPr>
          <p:nvPr/>
        </p:nvGrpSpPr>
        <p:grpSpPr>
          <a:xfrm>
            <a:off x="6541008" y="3174876"/>
            <a:ext cx="515551" cy="490804"/>
            <a:chOff x="8234362" y="2596896"/>
            <a:chExt cx="762000" cy="725424"/>
          </a:xfrm>
        </p:grpSpPr>
        <p:sp>
          <p:nvSpPr>
            <p:cNvPr id="13" name="Oval 12"/>
            <p:cNvSpPr/>
            <p:nvPr/>
          </p:nvSpPr>
          <p:spPr>
            <a:xfrm>
              <a:off x="8234362" y="2596896"/>
              <a:ext cx="762000" cy="7254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2" descr="https://camo.githubusercontent.com/2c360bfd965a2ecfd05d8ada207c6ce375634144/68747470733a2f2f662e636c6f75642e6769746875622e636f6d2f6173736574732f313032303334392f313931333130372f33623630643065322d376434342d313165332d393931362d6634303539353261663439362e706e67"/>
            <p:cNvPicPr>
              <a:picLocks noChangeAspect="1" noChangeArrowheads="1"/>
            </p:cNvPicPr>
            <p:nvPr/>
          </p:nvPicPr>
          <p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71522" y="2717126"/>
              <a:ext cx="487680" cy="4876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5" name="Picture 54" descr="http://www.bizlawyer.ro/images/uploaded/bigthumb_1401703031.16_hidroelectrica%20500.jpg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145"/>
          <a:stretch/>
        </p:blipFill>
        <p:spPr bwMode="auto">
          <a:xfrm>
            <a:off x="2057400" y="5105400"/>
            <a:ext cx="1840486" cy="941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1" descr="http://1.bp.blogspot.com/-RL51FpIVNcw/U4TL-G19roI/AAAAAAAAAmE/0boa2IVHY_w/s1600/8.+Power.JPG"/>
          <p:cNvPicPr>
            <a:picLocks noChangeAspect="1" noChangeArrowheads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9" r="4694"/>
          <a:stretch/>
        </p:blipFill>
        <p:spPr bwMode="auto">
          <a:xfrm>
            <a:off x="76200" y="5105400"/>
            <a:ext cx="1840486" cy="941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ttps://encrypted-tbn1.gstatic.com/images?q=tbn:ANd9GcQMRgjmFuySZQVrhtINqIwGuhlb5Fa-kpbBgyWDAbfjvKg7aAl3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8600" y="5096762"/>
            <a:ext cx="1837564" cy="958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58" descr="http://jbsnews.files.wordpress.com/2013/05/wind-solar-04.jpg"/>
          <p:cNvPicPr>
            <a:picLocks noChangeAspect="1" noChangeArrowheads="1"/>
          </p:cNvPicPr>
          <p:nvPr/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0044"/>
          <a:stretch/>
        </p:blipFill>
        <p:spPr bwMode="auto">
          <a:xfrm>
            <a:off x="6019800" y="5096762"/>
            <a:ext cx="1840486" cy="958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890939"/>
            <a:ext cx="1624445" cy="2320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2680" y="844600"/>
            <a:ext cx="6048672" cy="2316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ro-RO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P</a:t>
            </a:r>
            <a:r>
              <a:rPr lang="en-US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re</a:t>
            </a:r>
            <a:r>
              <a:rPr lang="ro-RO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zentare Generală</a:t>
            </a:r>
            <a:endParaRPr lang="en-US" altLang="ro-RO" sz="2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9353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1000" y="903640"/>
            <a:ext cx="1615555" cy="2308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 Box 9"/>
          <p:cNvSpPr txBox="1">
            <a:spLocks noChangeArrowheads="1"/>
          </p:cNvSpPr>
          <p:nvPr/>
        </p:nvSpPr>
        <p:spPr bwMode="auto">
          <a:xfrm>
            <a:off x="1876456" y="115890"/>
            <a:ext cx="797239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o-RO" altLang="ro-RO" sz="2600" b="1" dirty="0" smtClean="0">
                <a:solidFill>
                  <a:srgbClr val="24297A"/>
                </a:solidFill>
              </a:rPr>
              <a:t>Operaţiuni de reţea</a:t>
            </a:r>
            <a:endParaRPr lang="en-US" altLang="ro-RO" sz="2600" b="1" dirty="0">
              <a:solidFill>
                <a:srgbClr val="2429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215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 bwMode="ltGray">
          <a:xfrm>
            <a:off x="3657600" y="5334000"/>
            <a:ext cx="2743200" cy="5334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BACC6"/>
              </a:buClr>
            </a:pPr>
            <a:r>
              <a:rPr lang="ro-RO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mente în care a fost intodusă concurenţa</a:t>
            </a:r>
            <a:endParaRPr lang="en-US" sz="14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770665665"/>
              </p:ext>
            </p:extLst>
          </p:nvPr>
        </p:nvGraphicFramePr>
        <p:xfrm>
          <a:off x="143323" y="3408406"/>
          <a:ext cx="9705528" cy="99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4" name="Straight Connector 3"/>
          <p:cNvCxnSpPr/>
          <p:nvPr/>
        </p:nvCxnSpPr>
        <p:spPr>
          <a:xfrm>
            <a:off x="1447800" y="4399006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8534400" y="4399006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1447800" y="5008606"/>
            <a:ext cx="335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5181600" y="5008606"/>
            <a:ext cx="335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4800600" y="5008606"/>
            <a:ext cx="0" cy="30480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5181600" y="5008606"/>
            <a:ext cx="0" cy="30480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3886200" y="2794686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6096000" y="2792628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 bwMode="ltGray">
          <a:xfrm>
            <a:off x="3657600" y="1804086"/>
            <a:ext cx="2743200" cy="6858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BACC6"/>
              </a:buClr>
            </a:pPr>
            <a:r>
              <a:rPr lang="ro-RO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mente reglementat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BACC6"/>
              </a:buClr>
            </a:pPr>
            <a:r>
              <a:rPr lang="ro-RO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reţele 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o-RO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nopoluri naturale)</a:t>
            </a:r>
            <a:endParaRPr lang="en-US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3886200" y="2792628"/>
            <a:ext cx="914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800600" y="2489886"/>
            <a:ext cx="0" cy="304800"/>
          </a:xfrm>
          <a:prstGeom prst="line">
            <a:avLst/>
          </a:prstGeom>
          <a:ln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5181600" y="2802924"/>
            <a:ext cx="914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181600" y="2498124"/>
            <a:ext cx="0" cy="304800"/>
          </a:xfrm>
          <a:prstGeom prst="line">
            <a:avLst/>
          </a:prstGeom>
          <a:ln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 bwMode="ltGray">
          <a:xfrm>
            <a:off x="152399" y="764704"/>
            <a:ext cx="3505201" cy="2130897"/>
          </a:xfrm>
          <a:prstGeom prst="roundRect">
            <a:avLst>
              <a:gd name="adj" fmla="val 5617"/>
            </a:avLst>
          </a:prstGeom>
          <a:noFill/>
          <a:ln w="3175">
            <a:solidFill>
              <a:srgbClr val="C5E4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eaLnBrk="0" fontAlgn="base" hangingPunct="0">
              <a:spcAft>
                <a:spcPct val="0"/>
              </a:spcAft>
              <a:defRPr/>
            </a:pP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pendenţa Transelectrica faţă de piaţa sectorului energetic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ție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ânzare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nizare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ând în vedere poziţia sa de operator de transport şi de sistem 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S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 reţelei electroenergetice româneşti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ost certificată de către ANRE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orm modelului 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a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ării Proprietăţii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(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izul CE din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2.10.2015) 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 data de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08.12.2015 (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dinul 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RE164 - 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908). 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carea a fost publicată în Jurnalul Oficial al UE în data de 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8.01.2016</a:t>
            </a:r>
            <a:r>
              <a:rPr lang="ro-RO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8" name="Picture 10" descr="https://d30y9cdsu7xlg0.cloudfront.net/png/4928-200.png"/>
          <p:cNvPicPr>
            <a:picLocks noChangeAspect="1" noChangeArrowheads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3195" y="3453714"/>
            <a:ext cx="253968" cy="253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2" descr="http://cdn.mysitemyway.com/icons-watermarks/simple-black/iconathon/iconathon_power-plant/iconathon_power-plant_simple-black_512x512.png"/>
          <p:cNvPicPr>
            <a:picLocks noChangeAspect="1" noChangeArrowheads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" y="3463842"/>
            <a:ext cx="243840" cy="243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7" descr="https://cdn0.iconfinder.com/data/icons/files-documents/512/YPS__file_document_contract_pen_white_page_to_sign_signature_signed_sign_contract_paper_page_text-512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3463842"/>
            <a:ext cx="243840" cy="243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9" descr="https://cdn0.iconfinder.com/data/icons/mobile-development-svg-icons/60/Electricity_supply_network-512.png"/>
          <p:cNvPicPr>
            <a:picLocks noChangeAspect="1" noChangeArrowheads="1"/>
          </p:cNvPicPr>
          <p:nvPr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7990" y="3464172"/>
            <a:ext cx="243840" cy="243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Connector 21"/>
          <p:cNvCxnSpPr/>
          <p:nvPr/>
        </p:nvCxnSpPr>
        <p:spPr>
          <a:xfrm flipV="1">
            <a:off x="2969910" y="2895600"/>
            <a:ext cx="0" cy="508686"/>
          </a:xfrm>
          <a:prstGeom prst="line">
            <a:avLst/>
          </a:prstGeom>
          <a:ln w="3492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514600" y="4419600"/>
            <a:ext cx="2133600" cy="430887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 algn="ctr"/>
            <a:r>
              <a:rPr lang="ro-RO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cat</a:t>
            </a:r>
            <a:r>
              <a:rPr lang="en-US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o-RO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</a:t>
            </a:r>
            <a:r>
              <a:rPr lang="en-US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o-RO" sz="1100" b="1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o-RO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ararea proprietăţii</a:t>
            </a:r>
          </a:p>
        </p:txBody>
      </p:sp>
      <p:sp>
        <p:nvSpPr>
          <p:cNvPr id="24" name="Text Box 9"/>
          <p:cNvSpPr txBox="1">
            <a:spLocks noChangeArrowheads="1"/>
          </p:cNvSpPr>
          <p:nvPr/>
        </p:nvSpPr>
        <p:spPr bwMode="auto">
          <a:xfrm>
            <a:off x="1676400" y="115888"/>
            <a:ext cx="81534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o-RO" altLang="ro-RO" sz="2600" b="1" dirty="0" smtClean="0">
                <a:solidFill>
                  <a:srgbClr val="24297A"/>
                </a:solidFill>
              </a:rPr>
              <a:t>Certificarea independenţei OTS</a:t>
            </a:r>
            <a:endParaRPr lang="en-US" altLang="ro-RO" sz="2600" b="1" dirty="0">
              <a:solidFill>
                <a:srgbClr val="24297A"/>
              </a:solidFill>
            </a:endParaRPr>
          </a:p>
        </p:txBody>
      </p:sp>
      <p:sp>
        <p:nvSpPr>
          <p:cNvPr id="25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ro-RO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P</a:t>
            </a:r>
            <a:r>
              <a:rPr lang="en-US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re</a:t>
            </a:r>
            <a:r>
              <a:rPr lang="ro-RO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zentare Generală</a:t>
            </a:r>
            <a:endParaRPr lang="en-US" altLang="ro-RO" sz="2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767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ounded Rectangle 46"/>
          <p:cNvSpPr/>
          <p:nvPr/>
        </p:nvSpPr>
        <p:spPr>
          <a:xfrm>
            <a:off x="165100" y="4984804"/>
            <a:ext cx="2313569" cy="528034"/>
          </a:xfrm>
          <a:prstGeom prst="roundRect">
            <a:avLst>
              <a:gd name="adj" fmla="val 11339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ectati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elel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i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transport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393578" y="3274168"/>
            <a:ext cx="2361293" cy="17324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ounded Rectangle 48"/>
          <p:cNvSpPr/>
          <p:nvPr/>
        </p:nvSpPr>
        <p:spPr>
          <a:xfrm>
            <a:off x="4937010" y="2437652"/>
            <a:ext cx="2208466" cy="528034"/>
          </a:xfrm>
          <a:prstGeom prst="roundRect">
            <a:avLst>
              <a:gd name="adj" fmla="val 11339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atori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</a:p>
          <a:p>
            <a:pPr algn="r"/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1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i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7515974" y="3353787"/>
            <a:ext cx="2111419" cy="3338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nal</a:t>
            </a:r>
          </a:p>
        </p:txBody>
      </p:sp>
      <p:sp>
        <p:nvSpPr>
          <p:cNvPr id="51" name="Rounded Rectangle 50"/>
          <p:cNvSpPr/>
          <p:nvPr/>
        </p:nvSpPr>
        <p:spPr>
          <a:xfrm>
            <a:off x="7515974" y="3752365"/>
            <a:ext cx="2111419" cy="3338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nal</a:t>
            </a:r>
          </a:p>
        </p:txBody>
      </p:sp>
      <p:sp>
        <p:nvSpPr>
          <p:cNvPr id="52" name="Rounded Rectangle 51"/>
          <p:cNvSpPr/>
          <p:nvPr/>
        </p:nvSpPr>
        <p:spPr>
          <a:xfrm>
            <a:off x="7515974" y="4600576"/>
            <a:ext cx="2111419" cy="3338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2636713" y="2437652"/>
            <a:ext cx="1813774" cy="3401293"/>
          </a:xfrm>
          <a:prstGeom prst="roundRect">
            <a:avLst>
              <a:gd name="adj" fmla="val 3223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4937009" y="5310911"/>
            <a:ext cx="2244842" cy="528034"/>
          </a:xfrm>
          <a:prstGeom prst="roundRect">
            <a:avLst>
              <a:gd name="adj" fmla="val 867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</a:t>
            </a:r>
            <a:r>
              <a:rPr lang="ro-RO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</a:t>
            </a:r>
          </a:p>
          <a:p>
            <a:pPr algn="r"/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</a:t>
            </a:r>
            <a:r>
              <a:rPr lang="ro-RO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e</a:t>
            </a:r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ounded Rectangle 54"/>
          <p:cNvSpPr/>
          <p:nvPr/>
        </p:nvSpPr>
        <p:spPr>
          <a:xfrm>
            <a:off x="4937009" y="3274168"/>
            <a:ext cx="2223501" cy="1732442"/>
          </a:xfrm>
          <a:prstGeom prst="roundRect">
            <a:avLst>
              <a:gd name="adj" fmla="val 322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nizori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56" name="Straight Arrow Connector 55"/>
          <p:cNvCxnSpPr>
            <a:stCxn id="49" idx="1"/>
          </p:cNvCxnSpPr>
          <p:nvPr/>
        </p:nvCxnSpPr>
        <p:spPr>
          <a:xfrm flipH="1">
            <a:off x="4460746" y="2701669"/>
            <a:ext cx="476264" cy="0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55" idx="1"/>
            <a:endCxn id="53" idx="3"/>
          </p:cNvCxnSpPr>
          <p:nvPr/>
        </p:nvCxnSpPr>
        <p:spPr>
          <a:xfrm flipH="1" flipV="1">
            <a:off x="4450486" y="4138299"/>
            <a:ext cx="486523" cy="2090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57"/>
          <p:cNvSpPr/>
          <p:nvPr/>
        </p:nvSpPr>
        <p:spPr>
          <a:xfrm>
            <a:off x="412751" y="3272077"/>
            <a:ext cx="1813774" cy="1732442"/>
          </a:xfrm>
          <a:prstGeom prst="roundRect">
            <a:avLst>
              <a:gd name="adj" fmla="val 238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</a:t>
            </a:r>
            <a:r>
              <a:rPr lang="ro-RO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ă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ri*</a:t>
            </a:r>
          </a:p>
        </p:txBody>
      </p:sp>
      <p:sp>
        <p:nvSpPr>
          <p:cNvPr id="59" name="Rectangle 58"/>
          <p:cNvSpPr/>
          <p:nvPr/>
        </p:nvSpPr>
        <p:spPr>
          <a:xfrm>
            <a:off x="612259" y="1143000"/>
            <a:ext cx="1813774" cy="94575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jec</a:t>
            </a:r>
            <a:r>
              <a:rPr lang="ro-RO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20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e</a:t>
            </a:r>
            <a:endParaRPr lang="en-US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o-RO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 re</a:t>
            </a:r>
            <a:r>
              <a:rPr lang="ro-RO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20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endParaRPr lang="en-US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5120427" y="1143000"/>
            <a:ext cx="1813774" cy="94575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c</a:t>
            </a:r>
            <a:r>
              <a:rPr lang="ro-RO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20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e</a:t>
            </a:r>
            <a:endParaRPr lang="en-US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 re</a:t>
            </a:r>
            <a:r>
              <a:rPr lang="ro-RO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20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endParaRPr lang="en-US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Isosceles Triangle 60"/>
          <p:cNvSpPr/>
          <p:nvPr/>
        </p:nvSpPr>
        <p:spPr>
          <a:xfrm flipV="1">
            <a:off x="853446" y="1982050"/>
            <a:ext cx="1234440" cy="244585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Isosceles Triangle 61"/>
          <p:cNvSpPr/>
          <p:nvPr/>
        </p:nvSpPr>
        <p:spPr>
          <a:xfrm flipV="1">
            <a:off x="5426069" y="1982049"/>
            <a:ext cx="1234440" cy="244585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ounded Rectangle 62"/>
          <p:cNvSpPr/>
          <p:nvPr/>
        </p:nvSpPr>
        <p:spPr>
          <a:xfrm>
            <a:off x="959376" y="6274896"/>
            <a:ext cx="4795113" cy="528034"/>
          </a:xfrm>
          <a:prstGeom prst="roundRect">
            <a:avLst>
              <a:gd name="adj" fmla="val 11339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atori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i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cordati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elel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i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transport, care au </a:t>
            </a:r>
            <a:r>
              <a:rPr lang="en-US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ct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 </a:t>
            </a:r>
            <a:r>
              <a:rPr lang="en-US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ulti </a:t>
            </a:r>
            <a:r>
              <a:rPr lang="en-US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nizori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tru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lasi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4" name="Straight Arrow Connector 63"/>
          <p:cNvCxnSpPr>
            <a:stCxn id="53" idx="1"/>
            <a:endCxn id="58" idx="3"/>
          </p:cNvCxnSpPr>
          <p:nvPr/>
        </p:nvCxnSpPr>
        <p:spPr>
          <a:xfrm flipH="1" flipV="1">
            <a:off x="2226525" y="4138298"/>
            <a:ext cx="410188" cy="1"/>
          </a:xfrm>
          <a:prstGeom prst="straightConnector1">
            <a:avLst/>
          </a:prstGeom>
          <a:ln w="22225">
            <a:headEnd type="triangl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/>
          <p:nvPr/>
        </p:nvCxnSpPr>
        <p:spPr>
          <a:xfrm flipH="1">
            <a:off x="4460805" y="5588189"/>
            <a:ext cx="461241" cy="0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ounded Rectangle 65"/>
          <p:cNvSpPr/>
          <p:nvPr/>
        </p:nvSpPr>
        <p:spPr>
          <a:xfrm>
            <a:off x="351236" y="5473178"/>
            <a:ext cx="1979864" cy="318023"/>
          </a:xfrm>
          <a:prstGeom prst="roundRect">
            <a:avLst>
              <a:gd name="adj" fmla="val 11339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o-RO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e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gt;5 MW capacitate </a:t>
            </a:r>
            <a:r>
              <a:rPr lang="en-US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lata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7" name="Straight Arrow Connector 66"/>
          <p:cNvCxnSpPr/>
          <p:nvPr/>
        </p:nvCxnSpPr>
        <p:spPr>
          <a:xfrm flipH="1" flipV="1">
            <a:off x="7185398" y="3476696"/>
            <a:ext cx="228186" cy="6955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>
          <a:xfrm flipH="1" flipV="1">
            <a:off x="7181850" y="3962401"/>
            <a:ext cx="228186" cy="6955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/>
          <p:nvPr/>
        </p:nvCxnSpPr>
        <p:spPr>
          <a:xfrm flipH="1" flipV="1">
            <a:off x="7184476" y="4343401"/>
            <a:ext cx="228186" cy="6955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>
          <a:xfrm flipH="1" flipV="1">
            <a:off x="7184476" y="4774456"/>
            <a:ext cx="228186" cy="6955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9" descr="https://cdn4.iconfinder.com/data/icons/unigrid-buildings/62/008_electricity_power_generation_tower_station_lines-512.png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236" y="1186071"/>
            <a:ext cx="308835" cy="393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6" name="Grupare 1"/>
          <p:cNvGrpSpPr>
            <a:grpSpLocks noChangeAspect="1"/>
          </p:cNvGrpSpPr>
          <p:nvPr/>
        </p:nvGrpSpPr>
        <p:grpSpPr>
          <a:xfrm>
            <a:off x="2978888" y="3655292"/>
            <a:ext cx="1138293" cy="1000297"/>
            <a:chOff x="7658290" y="3352800"/>
            <a:chExt cx="762000" cy="725424"/>
          </a:xfrm>
          <a:solidFill>
            <a:schemeClr val="tx2">
              <a:lumMod val="75000"/>
              <a:alpha val="99000"/>
            </a:schemeClr>
          </a:solidFill>
        </p:grpSpPr>
        <p:sp>
          <p:nvSpPr>
            <p:cNvPr id="77" name="Oval 76"/>
            <p:cNvSpPr/>
            <p:nvPr/>
          </p:nvSpPr>
          <p:spPr>
            <a:xfrm>
              <a:off x="7658290" y="3352800"/>
              <a:ext cx="762000" cy="72542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8" name="Picture 77" descr="https://cdn4.iconfinder.com/data/icons/unigrid-buildings/62/008_electricity_power_generation_tower_station_lines-512.png"/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24134" y="3413760"/>
              <a:ext cx="424053" cy="585216"/>
            </a:xfrm>
            <a:prstGeom prst="rect">
              <a:avLst/>
            </a:prstGeom>
            <a:grpFill/>
          </p:spPr>
        </p:pic>
      </p:grpSp>
      <p:grpSp>
        <p:nvGrpSpPr>
          <p:cNvPr id="79" name="Group 78"/>
          <p:cNvGrpSpPr/>
          <p:nvPr/>
        </p:nvGrpSpPr>
        <p:grpSpPr>
          <a:xfrm>
            <a:off x="5035550" y="5364881"/>
            <a:ext cx="478049" cy="420095"/>
            <a:chOff x="1640085" y="5750107"/>
            <a:chExt cx="630106" cy="599861"/>
          </a:xfrm>
        </p:grpSpPr>
        <p:sp>
          <p:nvSpPr>
            <p:cNvPr id="80" name="Oval 79"/>
            <p:cNvSpPr/>
            <p:nvPr/>
          </p:nvSpPr>
          <p:spPr>
            <a:xfrm>
              <a:off x="1640085" y="5750107"/>
              <a:ext cx="630106" cy="599861"/>
            </a:xfrm>
            <a:prstGeom prst="ellipse">
              <a:avLst/>
            </a:prstGeom>
            <a:solidFill>
              <a:schemeClr val="tx2">
                <a:lumMod val="75000"/>
                <a:alpha val="9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1" name="Picture 10" descr="https://d30y9cdsu7xlg0.cloudfront.net/png/4928-200.png"/>
            <p:cNvPicPr>
              <a:picLocks noChangeAspect="1" noChangeArrowheads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3054" y="5807953"/>
              <a:ext cx="484167" cy="4841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2" name="Picture 6" descr="Imagini pentru power plug icon&quot;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565030">
            <a:off x="5959368" y="2018384"/>
            <a:ext cx="194007" cy="180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8" descr="Imagini pentru power generation icon&quot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2394" y="2010432"/>
            <a:ext cx="188542" cy="188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4" name="Group 83"/>
          <p:cNvGrpSpPr/>
          <p:nvPr/>
        </p:nvGrpSpPr>
        <p:grpSpPr>
          <a:xfrm>
            <a:off x="4931683" y="2395326"/>
            <a:ext cx="656852" cy="606325"/>
            <a:chOff x="4552322" y="2073612"/>
            <a:chExt cx="606325" cy="606325"/>
          </a:xfrm>
        </p:grpSpPr>
        <p:sp>
          <p:nvSpPr>
            <p:cNvPr id="85" name="Oval 84"/>
            <p:cNvSpPr/>
            <p:nvPr/>
          </p:nvSpPr>
          <p:spPr>
            <a:xfrm>
              <a:off x="4625322" y="2185778"/>
              <a:ext cx="441276" cy="420095"/>
            </a:xfrm>
            <a:prstGeom prst="ellipse">
              <a:avLst/>
            </a:prstGeom>
            <a:solidFill>
              <a:schemeClr val="tx2">
                <a:lumMod val="75000"/>
                <a:alpha val="9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6" name="Picture 11" descr="Imagini pentru factory icon&quot;"/>
            <p:cNvPicPr>
              <a:picLocks noChangeAspect="1" noChangeArrowheads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2322" y="2073612"/>
              <a:ext cx="606325" cy="606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7" name="Group 86"/>
          <p:cNvGrpSpPr/>
          <p:nvPr/>
        </p:nvGrpSpPr>
        <p:grpSpPr>
          <a:xfrm>
            <a:off x="1199993" y="3487128"/>
            <a:ext cx="478049" cy="420095"/>
            <a:chOff x="1668069" y="6231073"/>
            <a:chExt cx="441276" cy="420095"/>
          </a:xfrm>
        </p:grpSpPr>
        <p:sp>
          <p:nvSpPr>
            <p:cNvPr id="88" name="Oval 87"/>
            <p:cNvSpPr/>
            <p:nvPr/>
          </p:nvSpPr>
          <p:spPr>
            <a:xfrm>
              <a:off x="1668069" y="6231073"/>
              <a:ext cx="441276" cy="420095"/>
            </a:xfrm>
            <a:prstGeom prst="ellipse">
              <a:avLst/>
            </a:prstGeom>
            <a:solidFill>
              <a:schemeClr val="tx2">
                <a:lumMod val="75000"/>
                <a:alpha val="9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9" name="Picture 12" descr="http://cdn.mysitemyway.com/icons-watermarks/simple-black/iconathon/iconathon_power-plant/iconathon_power-plant_simple-black_512x512.png"/>
            <p:cNvPicPr>
              <a:picLocks noChangeAspect="1" noChangeArrowheads="1"/>
            </p:cNvPicPr>
            <p:nvPr/>
          </p:nvPicPr>
          <p:blipFill>
            <a:blip r:embed="rId8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6787" y="6309675"/>
              <a:ext cx="243840" cy="243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0" name="Rounded Rectangle 89"/>
          <p:cNvSpPr/>
          <p:nvPr/>
        </p:nvSpPr>
        <p:spPr>
          <a:xfrm>
            <a:off x="4772387" y="5817638"/>
            <a:ext cx="3268279" cy="317849"/>
          </a:xfrm>
          <a:prstGeom prst="roundRect">
            <a:avLst>
              <a:gd name="adj" fmla="val 11339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tru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rderil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CPT) 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</a:t>
            </a:r>
            <a:r>
              <a:rPr lang="ro-RO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elele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rii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Rounded Rectangle 90"/>
          <p:cNvSpPr/>
          <p:nvPr/>
        </p:nvSpPr>
        <p:spPr>
          <a:xfrm>
            <a:off x="4823981" y="4987561"/>
            <a:ext cx="3038907" cy="264017"/>
          </a:xfrm>
          <a:prstGeom prst="roundRect">
            <a:avLst>
              <a:gd name="adj" fmla="val 11339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tru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ul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nal al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ilor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4849133" y="2937112"/>
            <a:ext cx="3038907" cy="264017"/>
          </a:xfrm>
          <a:prstGeom prst="roundRect">
            <a:avLst>
              <a:gd name="adj" fmla="val 11339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tru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ul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nal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riu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3" name="Group 92"/>
          <p:cNvGrpSpPr/>
          <p:nvPr/>
        </p:nvGrpSpPr>
        <p:grpSpPr>
          <a:xfrm>
            <a:off x="5010766" y="3952482"/>
            <a:ext cx="478049" cy="420095"/>
            <a:chOff x="4625322" y="3630768"/>
            <a:chExt cx="441276" cy="420095"/>
          </a:xfrm>
        </p:grpSpPr>
        <p:sp>
          <p:nvSpPr>
            <p:cNvPr id="94" name="Oval 93"/>
            <p:cNvSpPr/>
            <p:nvPr/>
          </p:nvSpPr>
          <p:spPr>
            <a:xfrm>
              <a:off x="4625322" y="3630768"/>
              <a:ext cx="441276" cy="420095"/>
            </a:xfrm>
            <a:prstGeom prst="ellipse">
              <a:avLst/>
            </a:prstGeom>
            <a:solidFill>
              <a:schemeClr val="tx2">
                <a:lumMod val="75000"/>
                <a:alpha val="9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5" name="Picture 21" descr="Imagini pentru files icon&quot;"/>
            <p:cNvPicPr>
              <a:picLocks noChangeAspect="1" noChangeArrowheads="1"/>
            </p:cNvPicPr>
            <p:nvPr/>
          </p:nvPicPr>
          <p:blipFill>
            <a:blip r:embed="rId9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4978" y="3687421"/>
              <a:ext cx="299737" cy="299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6" name="TextBox 95"/>
          <p:cNvSpPr txBox="1"/>
          <p:nvPr/>
        </p:nvSpPr>
        <p:spPr>
          <a:xfrm>
            <a:off x="-460577" y="785961"/>
            <a:ext cx="55786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Clien</a:t>
            </a:r>
            <a:r>
              <a:rPr lang="ro-RO" sz="2000" b="1" dirty="0"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serviciului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 de transport</a:t>
            </a:r>
            <a:endParaRPr lang="ro-RO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7" name="Picture 24" descr="Imagini pentru electric bulb icon&quot;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8716" y="3406348"/>
            <a:ext cx="240751" cy="237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24" descr="Imagini pentru electric bulb icon&quot;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8716" y="3812456"/>
            <a:ext cx="240751" cy="237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9" name="Group 98"/>
          <p:cNvGrpSpPr/>
          <p:nvPr/>
        </p:nvGrpSpPr>
        <p:grpSpPr>
          <a:xfrm>
            <a:off x="7515974" y="4099885"/>
            <a:ext cx="2111419" cy="461502"/>
            <a:chOff x="6890197" y="4512640"/>
            <a:chExt cx="1949002" cy="461502"/>
          </a:xfrm>
        </p:grpSpPr>
        <p:sp>
          <p:nvSpPr>
            <p:cNvPr id="100" name="Rounded Rectangle 99"/>
            <p:cNvSpPr/>
            <p:nvPr/>
          </p:nvSpPr>
          <p:spPr>
            <a:xfrm>
              <a:off x="6890197" y="4585644"/>
              <a:ext cx="1949002" cy="333861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/>
              <a:r>
                <a:rPr lang="en-US" dirty="0" err="1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m</a:t>
              </a:r>
              <a:r>
                <a:rPr lang="en-US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inal</a:t>
              </a:r>
            </a:p>
          </p:txBody>
        </p:sp>
        <p:pic>
          <p:nvPicPr>
            <p:cNvPr id="101" name="Picture 11" descr="Imagini pentru factory icon&quot;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3026" y="4512640"/>
              <a:ext cx="461502" cy="4615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2" name="Slide Number Placeholder 3"/>
          <p:cNvSpPr txBox="1">
            <a:spLocks/>
          </p:cNvSpPr>
          <p:nvPr/>
        </p:nvSpPr>
        <p:spPr>
          <a:xfrm>
            <a:off x="7244111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o-R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63D0E1-F5D3-4804-9919-606BA98EA8E8}" type="slidenum">
              <a:rPr lang="ro-RO" sz="900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ro-RO" sz="900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7540706" y="914401"/>
            <a:ext cx="23652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Tariful se aplică la energia injectată/extrasă în/din rețea</a:t>
            </a:r>
          </a:p>
          <a:p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(Lei/MWh)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4" name="Straight Connector 103"/>
          <p:cNvCxnSpPr/>
          <p:nvPr/>
        </p:nvCxnSpPr>
        <p:spPr>
          <a:xfrm>
            <a:off x="302991" y="692696"/>
            <a:ext cx="925252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 Box 9"/>
          <p:cNvSpPr txBox="1">
            <a:spLocks noChangeArrowheads="1"/>
          </p:cNvSpPr>
          <p:nvPr/>
        </p:nvSpPr>
        <p:spPr bwMode="auto">
          <a:xfrm>
            <a:off x="0" y="58803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ro-RO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P</a:t>
            </a:r>
            <a:r>
              <a:rPr lang="en-US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re</a:t>
            </a:r>
            <a:r>
              <a:rPr lang="ro-RO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zentare Generală</a:t>
            </a:r>
            <a:endParaRPr lang="en-US" altLang="ro-RO" sz="2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6" name="Text Box 9"/>
          <p:cNvSpPr txBox="1">
            <a:spLocks noChangeArrowheads="1"/>
          </p:cNvSpPr>
          <p:nvPr/>
        </p:nvSpPr>
        <p:spPr bwMode="auto">
          <a:xfrm>
            <a:off x="4054468" y="58803"/>
            <a:ext cx="797239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lvl="0">
              <a:buNone/>
            </a:pPr>
            <a:r>
              <a:rPr lang="en-US" sz="2600" b="1" dirty="0" err="1">
                <a:solidFill>
                  <a:srgbClr val="24297A"/>
                </a:solidFill>
              </a:rPr>
              <a:t>Venit</a:t>
            </a:r>
            <a:r>
              <a:rPr lang="en-US" sz="2600" b="1" dirty="0">
                <a:solidFill>
                  <a:srgbClr val="24297A"/>
                </a:solidFill>
              </a:rPr>
              <a:t> </a:t>
            </a:r>
            <a:r>
              <a:rPr lang="en-US" sz="2600" b="1" dirty="0" err="1">
                <a:solidFill>
                  <a:srgbClr val="24297A"/>
                </a:solidFill>
              </a:rPr>
              <a:t>reglementat</a:t>
            </a:r>
            <a:r>
              <a:rPr lang="en-US" sz="2600" b="1" dirty="0">
                <a:solidFill>
                  <a:srgbClr val="24297A"/>
                </a:solidFill>
              </a:rPr>
              <a:t> M</a:t>
            </a:r>
            <a:r>
              <a:rPr lang="ro-RO" sz="2600" b="1" dirty="0">
                <a:solidFill>
                  <a:srgbClr val="24297A"/>
                </a:solidFill>
              </a:rPr>
              <a:t>etodologie Tarif</a:t>
            </a:r>
            <a:endParaRPr lang="en-US" sz="2600" b="1" dirty="0">
              <a:solidFill>
                <a:srgbClr val="2429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308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27744" y="1700808"/>
            <a:ext cx="537332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o-RO" altLang="ro-RO" sz="1400" dirty="0" smtClean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a este listată la Bursa de Valori Bucureşti </a:t>
            </a:r>
            <a:r>
              <a:rPr lang="en-US" altLang="ro-RO" sz="1400" dirty="0" smtClean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VB</a:t>
            </a:r>
            <a:r>
              <a:rPr lang="en-US" altLang="ro-RO" sz="14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o-RO" altLang="ro-RO" sz="1400" dirty="0" smtClean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 data de</a:t>
            </a:r>
            <a:r>
              <a:rPr lang="en-US" altLang="ro-RO" sz="1400" dirty="0" smtClean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o-RO" sz="14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8.08.2006, </a:t>
            </a:r>
            <a:r>
              <a:rPr lang="ro-RO" altLang="ro-RO" sz="1400" dirty="0" smtClean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ţiunile sale fiind tranzacţionate în categoria Premium sub simbolul TEL</a:t>
            </a:r>
            <a:endParaRPr lang="en-US" altLang="ro-RO" sz="1400" dirty="0">
              <a:solidFill>
                <a:srgbClr val="2429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3312" y="116632"/>
            <a:ext cx="6192688" cy="73866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600" b="1" dirty="0" smtClean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ro-RO" sz="2600" b="1" dirty="0" smtClean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ţia cu investitorii și acţionarii</a:t>
            </a:r>
            <a:endParaRPr lang="ro-RO" sz="2600" b="1" dirty="0">
              <a:solidFill>
                <a:srgbClr val="2429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o-RO" sz="1600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ro-RO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P</a:t>
            </a:r>
            <a:r>
              <a:rPr lang="en-US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re</a:t>
            </a:r>
            <a:r>
              <a:rPr lang="ro-RO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zentare Generală</a:t>
            </a:r>
            <a:endParaRPr lang="en-US" altLang="ro-RO" sz="2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8" name="Picture 7" descr="bursa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7752" y="764704"/>
            <a:ext cx="2103120" cy="9144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/>
        </p:nvSpPr>
        <p:spPr>
          <a:xfrm>
            <a:off x="200472" y="2396318"/>
            <a:ext cx="540113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it-IT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ele nouă luni ale anului 2025 au debutat cu un preț de tranzacționare de 37,70 lei/acțiune, deschiz</a:t>
            </a:r>
            <a:r>
              <a:rPr lang="ro-RO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ând parcursul spre preţul maxim al perioadei </a:t>
            </a:r>
            <a:r>
              <a:rPr lang="it-IT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63,00 lei/acțiune înregistrat în data de 7 iulie 2025 ce a generat acționarilor un randament maxim de aproximativ 67% </a:t>
            </a:r>
            <a:r>
              <a:rPr lang="en-US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TD</a:t>
            </a:r>
            <a:r>
              <a:rPr lang="it-IT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o-RO" sz="1200" dirty="0">
              <a:solidFill>
                <a:srgbClr val="2429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it-IT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ţul final al perioadei a adus acțiunilor TEL o capitalizare bursieră de 4.486 mil lei.</a:t>
            </a:r>
            <a:endParaRPr lang="ro-RO" sz="1200" dirty="0">
              <a:solidFill>
                <a:srgbClr val="2429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ro-RO" sz="1200" dirty="0" smtClean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 </a:t>
            </a:r>
            <a:r>
              <a:rPr lang="ro-RO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internaţional acţiunile TEL fac parte din componenţa indicilor MSCI Frontier şi MSCI România.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241935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o-RO" altLang="ro-R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465168" y="786408"/>
            <a:ext cx="26642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o-RO" sz="1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voluția prețului  pe acțiune</a:t>
            </a:r>
          </a:p>
        </p:txBody>
      </p:sp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5058893"/>
              </p:ext>
            </p:extLst>
          </p:nvPr>
        </p:nvGraphicFramePr>
        <p:xfrm>
          <a:off x="5817097" y="3645024"/>
          <a:ext cx="3816424" cy="23484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Chart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9104896"/>
              </p:ext>
            </p:extLst>
          </p:nvPr>
        </p:nvGraphicFramePr>
        <p:xfrm>
          <a:off x="5817097" y="1053360"/>
          <a:ext cx="3816423" cy="23484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8" name="Imagine 12"/>
          <p:cNvPicPr>
            <a:picLocks noChangeAspect="1" noChangeArrowheads="1"/>
            <a:extLst>
              <a:ext uri="{84589F7E-364E-4C9E-8A38-B11213B215E9}">
                <a14:cameraTool xmlns:a14="http://schemas.microsoft.com/office/drawing/2010/main" cellRange="$Z$2:$AA$5" spid="_x0000_s251178"/>
              </a:ext>
            </a:extLst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14730" y="2464042"/>
            <a:ext cx="1671045" cy="717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2978190"/>
              </p:ext>
            </p:extLst>
          </p:nvPr>
        </p:nvGraphicFramePr>
        <p:xfrm>
          <a:off x="1240907" y="4003464"/>
          <a:ext cx="3672408" cy="20541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23" name="Imagine 12"/>
          <p:cNvPicPr>
            <a:picLocks noChangeAspect="1" noChangeArrowheads="1"/>
            <a:extLst>
              <a:ext uri="{84589F7E-364E-4C9E-8A38-B11213B215E9}">
                <a14:cameraTool xmlns:a14="http://schemas.microsoft.com/office/drawing/2010/main" cellRange="$Z$2:$AA$5" spid="_x0000_s250237"/>
              </a:ext>
            </a:extLst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89333" y="5373216"/>
            <a:ext cx="1591659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6072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C0&quot; g=&quot;50&quot; b=&quot;4D&quot;/&gt;&lt;m_nBrightness val=&quot;0&quot;/&gt;&lt;/elem&gt;&lt;elem m_fUsage=&quot;2.00973790000000020000E+000&quot;&gt;&lt;m_msothmcolidx val=&quot;0&quot;/&gt;&lt;m_rgb r=&quot;39&quot; g=&quot;9A&quot; b=&quot;B7&quot;/&gt;&lt;m_nBrightness val=&quot;0&quot;/&gt;&lt;/elem&gt;&lt;elem m_fUsage=&quot;7.29000000000000090000E-001&quot;&gt;&lt;m_msothmcolidx val=&quot;0&quot;/&gt;&lt;m_rgb r=&quot;1B&quot; g=&quot;32&quot; b=&quot;77&quot;/&gt;&lt;m_nBrightness val=&quot;0&quot;/&gt;&lt;/elem&gt;&lt;elem m_fUsage=&quot;6.56100000000000130000E-001&quot;&gt;&lt;m_msothmcolidx val=&quot;0&quot;/&gt;&lt;m_rgb r=&quot;4F&quot; g=&quot;81&quot; b=&quot;B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1725</TotalTime>
  <Words>835</Words>
  <Application>Microsoft Office PowerPoint</Application>
  <PresentationFormat>A4 Paper (210x297 mm)</PresentationFormat>
  <Paragraphs>155</Paragraphs>
  <Slides>1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melia CRUTAN</dc:creator>
  <cp:lastModifiedBy>Livia Mihaela Radulescu</cp:lastModifiedBy>
  <cp:revision>1363</cp:revision>
  <cp:lastPrinted>2019-01-22T11:47:09Z</cp:lastPrinted>
  <dcterms:created xsi:type="dcterms:W3CDTF">2014-12-05T08:35:14Z</dcterms:created>
  <dcterms:modified xsi:type="dcterms:W3CDTF">2025-12-09T11:36:02Z</dcterms:modified>
</cp:coreProperties>
</file>